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4" r:id="rId4"/>
    <p:sldMasterId id="2147483668" r:id="rId5"/>
    <p:sldMasterId id="2147483747" r:id="rId6"/>
  </p:sldMasterIdLst>
  <p:notesMasterIdLst>
    <p:notesMasterId r:id="rId28"/>
  </p:notesMasterIdLst>
  <p:handoutMasterIdLst>
    <p:handoutMasterId r:id="rId29"/>
  </p:handoutMasterIdLst>
  <p:sldIdLst>
    <p:sldId id="256" r:id="rId7"/>
    <p:sldId id="259" r:id="rId8"/>
    <p:sldId id="277" r:id="rId9"/>
    <p:sldId id="463" r:id="rId10"/>
    <p:sldId id="464" r:id="rId11"/>
    <p:sldId id="465" r:id="rId12"/>
    <p:sldId id="329" r:id="rId13"/>
    <p:sldId id="470" r:id="rId14"/>
    <p:sldId id="471" r:id="rId15"/>
    <p:sldId id="448" r:id="rId16"/>
    <p:sldId id="334" r:id="rId17"/>
    <p:sldId id="479" r:id="rId18"/>
    <p:sldId id="473" r:id="rId19"/>
    <p:sldId id="478" r:id="rId20"/>
    <p:sldId id="466" r:id="rId21"/>
    <p:sldId id="332" r:id="rId22"/>
    <p:sldId id="357" r:id="rId23"/>
    <p:sldId id="469" r:id="rId24"/>
    <p:sldId id="480" r:id="rId25"/>
    <p:sldId id="482" r:id="rId26"/>
    <p:sldId id="467" r:id="rId27"/>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137" userDrawn="1">
          <p15:clr>
            <a:srgbClr val="A4A3A4"/>
          </p15:clr>
        </p15:guide>
        <p15:guide id="4" pos="7378" userDrawn="1">
          <p15:clr>
            <a:srgbClr val="A4A3A4"/>
          </p15:clr>
        </p15:guide>
        <p15:guide id="5" orient="horz" pos="3974" userDrawn="1">
          <p15:clr>
            <a:srgbClr val="A4A3A4"/>
          </p15:clr>
        </p15:guide>
        <p15:guide id="6" orient="horz" pos="323" userDrawn="1">
          <p15:clr>
            <a:srgbClr val="A4A3A4"/>
          </p15:clr>
        </p15:guide>
        <p15:guide id="11" orient="horz"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RANGEUL SANDRINE (CNAM / Paris)" initials="FS(/P" lastIdx="4" clrIdx="0"/>
  <p:cmAuthor id="1" name="BERRAMDANE SAID (CNAM / Paris)" initials="BS(/P" lastIdx="2" clrIdx="1"/>
  <p:cmAuthor id="2" name="Maylis PERNIN" initials="MP" lastIdx="1" clrIdx="2">
    <p:extLst>
      <p:ext uri="{19B8F6BF-5375-455C-9EA6-DF929625EA0E}">
        <p15:presenceInfo xmlns:p15="http://schemas.microsoft.com/office/powerpoint/2012/main" userId="Maylis PERN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1251"/>
    <a:srgbClr val="D61252"/>
    <a:srgbClr val="44546A"/>
    <a:srgbClr val="F9E5E5"/>
    <a:srgbClr val="DB7489"/>
    <a:srgbClr val="F7BE7F"/>
    <a:srgbClr val="FEE0F5"/>
    <a:srgbClr val="4472C4"/>
    <a:srgbClr val="F0B323"/>
    <a:srgbClr val="E5F7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2DB08F-9B13-4A1C-B445-6D12DAB72EDE}" v="3" dt="2023-03-30T16:58:11.959"/>
    <p1510:client id="{4A796B55-0F1E-487E-931E-EFF8D312F452}" v="2" dt="2023-03-30T15:39:51.049"/>
    <p1510:client id="{57FDB3FF-1005-4428-9453-D03D9844CA0B}" v="4" dt="2023-03-30T06:55:47.788"/>
    <p1510:client id="{62003FFD-1F07-481A-9275-60304AED4AA1}" v="3" dt="2023-03-29T16:50:41.294"/>
    <p1510:client id="{6DDB047F-C1E4-4FCC-A9F7-43A19EA15656}" v="2" dt="2023-03-30T07:07:56.973"/>
    <p1510:client id="{9F2E057F-7EE0-4E0E-A8C5-0A0CD1D347F4}" v="75" dt="2023-03-30T16:13:50.220"/>
    <p1510:client id="{AA48A8B1-1966-471A-9394-0217BFE01EAD}" v="11" dt="2023-03-29T16:53:57.814"/>
    <p1510:client id="{B063BF9B-8095-4B5D-9A93-603383F4C518}" v="471" dt="2023-03-30T15:44:33.721"/>
    <p1510:client id="{BEAE612B-E886-47DA-AEF2-901958522349}" v="5" dt="2023-03-30T14:52:58.013"/>
    <p1510:client id="{D3AD89E0-1E2E-4F97-8F77-8888646EF40B}" vWet="2" dt="2023-03-30T07:07:56.6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137"/>
        <p:guide pos="7378"/>
        <p:guide orient="horz" pos="3974"/>
        <p:guide orient="horz" pos="323"/>
        <p:guide orient="horz"/>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choukroun@assurance-maladie.fr" userId="S::stephanie.choukroun_assurance-maladie.fr#ext#@esante.gouv.fr::af443b45-f6ff-47b7-9156-5acf83ffa520" providerId="AD" clId="Web-{62003FFD-1F07-481A-9275-60304AED4AA1}"/>
    <pc:docChg chg="delSld">
      <pc:chgData name="stephanie.choukroun@assurance-maladie.fr" userId="S::stephanie.choukroun_assurance-maladie.fr#ext#@esante.gouv.fr::af443b45-f6ff-47b7-9156-5acf83ffa520" providerId="AD" clId="Web-{62003FFD-1F07-481A-9275-60304AED4AA1}" dt="2023-03-29T16:50:41.294" v="2"/>
      <pc:docMkLst>
        <pc:docMk/>
      </pc:docMkLst>
      <pc:sldChg chg="del">
        <pc:chgData name="stephanie.choukroun@assurance-maladie.fr" userId="S::stephanie.choukroun_assurance-maladie.fr#ext#@esante.gouv.fr::af443b45-f6ff-47b7-9156-5acf83ffa520" providerId="AD" clId="Web-{62003FFD-1F07-481A-9275-60304AED4AA1}" dt="2023-03-29T16:50:41.262" v="0"/>
        <pc:sldMkLst>
          <pc:docMk/>
          <pc:sldMk cId="997318773" sldId="460"/>
        </pc:sldMkLst>
      </pc:sldChg>
      <pc:sldChg chg="del">
        <pc:chgData name="stephanie.choukroun@assurance-maladie.fr" userId="S::stephanie.choukroun_assurance-maladie.fr#ext#@esante.gouv.fr::af443b45-f6ff-47b7-9156-5acf83ffa520" providerId="AD" clId="Web-{62003FFD-1F07-481A-9275-60304AED4AA1}" dt="2023-03-29T16:50:41.278" v="1"/>
        <pc:sldMkLst>
          <pc:docMk/>
          <pc:sldMk cId="2079611774" sldId="461"/>
        </pc:sldMkLst>
      </pc:sldChg>
      <pc:sldChg chg="del">
        <pc:chgData name="stephanie.choukroun@assurance-maladie.fr" userId="S::stephanie.choukroun_assurance-maladie.fr#ext#@esante.gouv.fr::af443b45-f6ff-47b7-9156-5acf83ffa520" providerId="AD" clId="Web-{62003FFD-1F07-481A-9275-60304AED4AA1}" dt="2023-03-29T16:50:41.294" v="2"/>
        <pc:sldMkLst>
          <pc:docMk/>
          <pc:sldMk cId="2669495619" sldId="462"/>
        </pc:sldMkLst>
      </pc:sldChg>
    </pc:docChg>
  </pc:docChgLst>
  <pc:docChgLst>
    <pc:chgData name="Anne LORIN" userId="S::anne.lorin@esante.gouv.fr::36a05026-be65-4a4f-986d-ceb908be52cf" providerId="AD" clId="Web-{3B9D3651-CC95-4C09-B8FD-25D8AC2F6F3B}"/>
    <pc:docChg chg="delSld modSld">
      <pc:chgData name="Anne LORIN" userId="S::anne.lorin@esante.gouv.fr::36a05026-be65-4a4f-986d-ceb908be52cf" providerId="AD" clId="Web-{3B9D3651-CC95-4C09-B8FD-25D8AC2F6F3B}" dt="2023-03-27T07:37:19.761" v="50"/>
      <pc:docMkLst>
        <pc:docMk/>
      </pc:docMkLst>
      <pc:sldChg chg="modNotes">
        <pc:chgData name="Anne LORIN" userId="S::anne.lorin@esante.gouv.fr::36a05026-be65-4a4f-986d-ceb908be52cf" providerId="AD" clId="Web-{3B9D3651-CC95-4C09-B8FD-25D8AC2F6F3B}" dt="2023-03-27T07:37:09.370" v="38"/>
        <pc:sldMkLst>
          <pc:docMk/>
          <pc:sldMk cId="3208219882" sldId="357"/>
        </pc:sldMkLst>
      </pc:sldChg>
      <pc:sldChg chg="modNotes">
        <pc:chgData name="Anne LORIN" userId="S::anne.lorin@esante.gouv.fr::36a05026-be65-4a4f-986d-ceb908be52cf" providerId="AD" clId="Web-{3B9D3651-CC95-4C09-B8FD-25D8AC2F6F3B}" dt="2023-03-27T07:36:48.339" v="31"/>
        <pc:sldMkLst>
          <pc:docMk/>
          <pc:sldMk cId="2414107720" sldId="441"/>
        </pc:sldMkLst>
      </pc:sldChg>
      <pc:sldChg chg="del">
        <pc:chgData name="Anne LORIN" userId="S::anne.lorin@esante.gouv.fr::36a05026-be65-4a4f-986d-ceb908be52cf" providerId="AD" clId="Web-{3B9D3651-CC95-4C09-B8FD-25D8AC2F6F3B}" dt="2023-03-27T07:32:11.678" v="0"/>
        <pc:sldMkLst>
          <pc:docMk/>
          <pc:sldMk cId="2012922486" sldId="459"/>
        </pc:sldMkLst>
      </pc:sldChg>
      <pc:sldChg chg="modNotes">
        <pc:chgData name="Anne LORIN" userId="S::anne.lorin@esante.gouv.fr::36a05026-be65-4a4f-986d-ceb908be52cf" providerId="AD" clId="Web-{3B9D3651-CC95-4C09-B8FD-25D8AC2F6F3B}" dt="2023-03-27T07:35:11.025" v="3"/>
        <pc:sldMkLst>
          <pc:docMk/>
          <pc:sldMk cId="2669495619" sldId="462"/>
        </pc:sldMkLst>
      </pc:sldChg>
      <pc:sldChg chg="modNotes">
        <pc:chgData name="Anne LORIN" userId="S::anne.lorin@esante.gouv.fr::36a05026-be65-4a4f-986d-ceb908be52cf" providerId="AD" clId="Web-{3B9D3651-CC95-4C09-B8FD-25D8AC2F6F3B}" dt="2023-03-27T07:36:12.447" v="27"/>
        <pc:sldMkLst>
          <pc:docMk/>
          <pc:sldMk cId="2486996713" sldId="466"/>
        </pc:sldMkLst>
      </pc:sldChg>
      <pc:sldChg chg="modNotes">
        <pc:chgData name="Anne LORIN" userId="S::anne.lorin@esante.gouv.fr::36a05026-be65-4a4f-986d-ceb908be52cf" providerId="AD" clId="Web-{3B9D3651-CC95-4C09-B8FD-25D8AC2F6F3B}" dt="2023-03-27T07:37:19.761" v="50"/>
        <pc:sldMkLst>
          <pc:docMk/>
          <pc:sldMk cId="333822725" sldId="467"/>
        </pc:sldMkLst>
      </pc:sldChg>
      <pc:sldChg chg="modNotes">
        <pc:chgData name="Anne LORIN" userId="S::anne.lorin@esante.gouv.fr::36a05026-be65-4a4f-986d-ceb908be52cf" providerId="AD" clId="Web-{3B9D3651-CC95-4C09-B8FD-25D8AC2F6F3B}" dt="2023-03-27T07:37:15.433" v="47"/>
        <pc:sldMkLst>
          <pc:docMk/>
          <pc:sldMk cId="102504197" sldId="469"/>
        </pc:sldMkLst>
      </pc:sldChg>
    </pc:docChg>
  </pc:docChgLst>
  <pc:docChgLst>
    <pc:chgData name="Anne LORIN" userId="S::anne.lorin@esante.gouv.fr::36a05026-be65-4a4f-986d-ceb908be52cf" providerId="AD" clId="Web-{9F2E057F-7EE0-4E0E-A8C5-0A0CD1D347F4}"/>
    <pc:docChg chg="delSld modSld">
      <pc:chgData name="Anne LORIN" userId="S::anne.lorin@esante.gouv.fr::36a05026-be65-4a4f-986d-ceb908be52cf" providerId="AD" clId="Web-{9F2E057F-7EE0-4E0E-A8C5-0A0CD1D347F4}" dt="2023-03-30T16:13:50.220" v="45"/>
      <pc:docMkLst>
        <pc:docMk/>
      </pc:docMkLst>
      <pc:sldChg chg="del">
        <pc:chgData name="Anne LORIN" userId="S::anne.lorin@esante.gouv.fr::36a05026-be65-4a4f-986d-ceb908be52cf" providerId="AD" clId="Web-{9F2E057F-7EE0-4E0E-A8C5-0A0CD1D347F4}" dt="2023-03-30T16:13:50.220" v="45"/>
        <pc:sldMkLst>
          <pc:docMk/>
          <pc:sldMk cId="804705725" sldId="481"/>
        </pc:sldMkLst>
      </pc:sldChg>
      <pc:sldChg chg="addSp delSp modSp">
        <pc:chgData name="Anne LORIN" userId="S::anne.lorin@esante.gouv.fr::36a05026-be65-4a4f-986d-ceb908be52cf" providerId="AD" clId="Web-{9F2E057F-7EE0-4E0E-A8C5-0A0CD1D347F4}" dt="2023-03-30T16:13:46.454" v="44" actId="1076"/>
        <pc:sldMkLst>
          <pc:docMk/>
          <pc:sldMk cId="1104518658" sldId="482"/>
        </pc:sldMkLst>
        <pc:spChg chg="mod">
          <ac:chgData name="Anne LORIN" userId="S::anne.lorin@esante.gouv.fr::36a05026-be65-4a4f-986d-ceb908be52cf" providerId="AD" clId="Web-{9F2E057F-7EE0-4E0E-A8C5-0A0CD1D347F4}" dt="2023-03-30T16:12:06.638" v="0" actId="1076"/>
          <ac:spMkLst>
            <pc:docMk/>
            <pc:sldMk cId="1104518658" sldId="482"/>
            <ac:spMk id="2" creationId="{00000000-0000-0000-0000-000000000000}"/>
          </ac:spMkLst>
        </pc:spChg>
        <pc:spChg chg="add mod">
          <ac:chgData name="Anne LORIN" userId="S::anne.lorin@esante.gouv.fr::36a05026-be65-4a4f-986d-ceb908be52cf" providerId="AD" clId="Web-{9F2E057F-7EE0-4E0E-A8C5-0A0CD1D347F4}" dt="2023-03-30T16:13:46.454" v="44" actId="1076"/>
          <ac:spMkLst>
            <pc:docMk/>
            <pc:sldMk cId="1104518658" sldId="482"/>
            <ac:spMk id="6" creationId="{CB34FEB1-8D7E-BE56-6ACF-6EA60FDB13C4}"/>
          </ac:spMkLst>
        </pc:spChg>
        <pc:spChg chg="add del">
          <ac:chgData name="Anne LORIN" userId="S::anne.lorin@esante.gouv.fr::36a05026-be65-4a4f-986d-ceb908be52cf" providerId="AD" clId="Web-{9F2E057F-7EE0-4E0E-A8C5-0A0CD1D347F4}" dt="2023-03-30T16:12:35.061" v="8"/>
          <ac:spMkLst>
            <pc:docMk/>
            <pc:sldMk cId="1104518658" sldId="482"/>
            <ac:spMk id="7" creationId="{1F189149-CE66-D0D5-DAC7-DF6693A711CC}"/>
          </ac:spMkLst>
        </pc:spChg>
        <pc:picChg chg="mod">
          <ac:chgData name="Anne LORIN" userId="S::anne.lorin@esante.gouv.fr::36a05026-be65-4a4f-986d-ceb908be52cf" providerId="AD" clId="Web-{9F2E057F-7EE0-4E0E-A8C5-0A0CD1D347F4}" dt="2023-03-30T16:12:09.278" v="1" actId="1076"/>
          <ac:picMkLst>
            <pc:docMk/>
            <pc:sldMk cId="1104518658" sldId="482"/>
            <ac:picMk id="31" creationId="{00000000-0000-0000-0000-000000000000}"/>
          </ac:picMkLst>
        </pc:picChg>
      </pc:sldChg>
    </pc:docChg>
  </pc:docChgLst>
  <pc:docChgLst>
    <pc:chgData name="Anne LORIN" userId="S::anne.lorin@esante.gouv.fr::36a05026-be65-4a4f-986d-ceb908be52cf" providerId="AD" clId="Web-{8FF3FABD-0BF6-483A-AA8A-4E3E3C8C5627}"/>
    <pc:docChg chg="addSld modSld sldOrd addMainMaster modMainMaster">
      <pc:chgData name="Anne LORIN" userId="S::anne.lorin@esante.gouv.fr::36a05026-be65-4a4f-986d-ceb908be52cf" providerId="AD" clId="Web-{8FF3FABD-0BF6-483A-AA8A-4E3E3C8C5627}" dt="2023-03-17T12:25:49.284" v="69"/>
      <pc:docMkLst>
        <pc:docMk/>
      </pc:docMkLst>
      <pc:sldChg chg="modNotes">
        <pc:chgData name="Anne LORIN" userId="S::anne.lorin@esante.gouv.fr::36a05026-be65-4a4f-986d-ceb908be52cf" providerId="AD" clId="Web-{8FF3FABD-0BF6-483A-AA8A-4E3E3C8C5627}" dt="2023-03-17T12:24:17.250" v="33"/>
        <pc:sldMkLst>
          <pc:docMk/>
          <pc:sldMk cId="2009670466" sldId="329"/>
        </pc:sldMkLst>
      </pc:sldChg>
      <pc:sldChg chg="modNotes">
        <pc:chgData name="Anne LORIN" userId="S::anne.lorin@esante.gouv.fr::36a05026-be65-4a4f-986d-ceb908be52cf" providerId="AD" clId="Web-{8FF3FABD-0BF6-483A-AA8A-4E3E3C8C5627}" dt="2023-03-17T12:25:23.486" v="57"/>
        <pc:sldMkLst>
          <pc:docMk/>
          <pc:sldMk cId="3132753612" sldId="332"/>
        </pc:sldMkLst>
      </pc:sldChg>
      <pc:sldChg chg="modNotes">
        <pc:chgData name="Anne LORIN" userId="S::anne.lorin@esante.gouv.fr::36a05026-be65-4a4f-986d-ceb908be52cf" providerId="AD" clId="Web-{8FF3FABD-0BF6-483A-AA8A-4E3E3C8C5627}" dt="2023-03-17T12:25:04.767" v="51"/>
        <pc:sldMkLst>
          <pc:docMk/>
          <pc:sldMk cId="3533006223" sldId="334"/>
        </pc:sldMkLst>
      </pc:sldChg>
      <pc:sldChg chg="modSp modNotes">
        <pc:chgData name="Anne LORIN" userId="S::anne.lorin@esante.gouv.fr::36a05026-be65-4a4f-986d-ceb908be52cf" providerId="AD" clId="Web-{8FF3FABD-0BF6-483A-AA8A-4E3E3C8C5627}" dt="2023-03-17T12:25:49.284" v="69"/>
        <pc:sldMkLst>
          <pc:docMk/>
          <pc:sldMk cId="3208219882" sldId="357"/>
        </pc:sldMkLst>
        <pc:spChg chg="mod">
          <ac:chgData name="Anne LORIN" userId="S::anne.lorin@esante.gouv.fr::36a05026-be65-4a4f-986d-ceb908be52cf" providerId="AD" clId="Web-{8FF3FABD-0BF6-483A-AA8A-4E3E3C8C5627}" dt="2023-03-17T12:25:44.799" v="67" actId="20577"/>
          <ac:spMkLst>
            <pc:docMk/>
            <pc:sldMk cId="3208219882" sldId="357"/>
            <ac:spMk id="3" creationId="{00000000-0000-0000-0000-000000000000}"/>
          </ac:spMkLst>
        </pc:spChg>
      </pc:sldChg>
      <pc:sldChg chg="ord">
        <pc:chgData name="Anne LORIN" userId="S::anne.lorin@esante.gouv.fr::36a05026-be65-4a4f-986d-ceb908be52cf" providerId="AD" clId="Web-{8FF3FABD-0BF6-483A-AA8A-4E3E3C8C5627}" dt="2023-03-17T12:25:31.877" v="58"/>
        <pc:sldMkLst>
          <pc:docMk/>
          <pc:sldMk cId="2414107720" sldId="441"/>
        </pc:sldMkLst>
      </pc:sldChg>
      <pc:sldChg chg="mod modShow">
        <pc:chgData name="Anne LORIN" userId="S::anne.lorin@esante.gouv.fr::36a05026-be65-4a4f-986d-ceb908be52cf" providerId="AD" clId="Web-{8FF3FABD-0BF6-483A-AA8A-4E3E3C8C5627}" dt="2023-03-17T12:25:34.877" v="59"/>
        <pc:sldMkLst>
          <pc:docMk/>
          <pc:sldMk cId="2088581623" sldId="455"/>
        </pc:sldMkLst>
      </pc:sldChg>
      <pc:sldChg chg="modSp modNotes">
        <pc:chgData name="Anne LORIN" userId="S::anne.lorin@esante.gouv.fr::36a05026-be65-4a4f-986d-ceb908be52cf" providerId="AD" clId="Web-{8FF3FABD-0BF6-483A-AA8A-4E3E3C8C5627}" dt="2023-03-17T12:24:49.626" v="43"/>
        <pc:sldMkLst>
          <pc:docMk/>
          <pc:sldMk cId="997318773" sldId="460"/>
        </pc:sldMkLst>
        <pc:spChg chg="mod">
          <ac:chgData name="Anne LORIN" userId="S::anne.lorin@esante.gouv.fr::36a05026-be65-4a4f-986d-ceb908be52cf" providerId="AD" clId="Web-{8FF3FABD-0BF6-483A-AA8A-4E3E3C8C5627}" dt="2023-03-17T12:23:59.218" v="26" actId="20577"/>
          <ac:spMkLst>
            <pc:docMk/>
            <pc:sldMk cId="997318773" sldId="460"/>
            <ac:spMk id="12" creationId="{8BB7DD09-F87D-4E5E-8CD8-2487DD54EC21}"/>
          </ac:spMkLst>
        </pc:spChg>
      </pc:sldChg>
      <pc:sldChg chg="modSp modNotes">
        <pc:chgData name="Anne LORIN" userId="S::anne.lorin@esante.gouv.fr::36a05026-be65-4a4f-986d-ceb908be52cf" providerId="AD" clId="Web-{8FF3FABD-0BF6-483A-AA8A-4E3E3C8C5627}" dt="2023-03-17T12:24:53.938" v="45"/>
        <pc:sldMkLst>
          <pc:docMk/>
          <pc:sldMk cId="2079611774" sldId="461"/>
        </pc:sldMkLst>
        <pc:spChg chg="mod">
          <ac:chgData name="Anne LORIN" userId="S::anne.lorin@esante.gouv.fr::36a05026-be65-4a4f-986d-ceb908be52cf" providerId="AD" clId="Web-{8FF3FABD-0BF6-483A-AA8A-4E3E3C8C5627}" dt="2023-03-17T12:23:49.218" v="23" actId="20577"/>
          <ac:spMkLst>
            <pc:docMk/>
            <pc:sldMk cId="2079611774" sldId="461"/>
            <ac:spMk id="14" creationId="{5A4179A7-7083-4FB0-AC8A-7BF25C736E44}"/>
          </ac:spMkLst>
        </pc:spChg>
      </pc:sldChg>
      <pc:sldChg chg="modNotes">
        <pc:chgData name="Anne LORIN" userId="S::anne.lorin@esante.gouv.fr::36a05026-be65-4a4f-986d-ceb908be52cf" providerId="AD" clId="Web-{8FF3FABD-0BF6-483A-AA8A-4E3E3C8C5627}" dt="2023-03-17T12:25:00.329" v="50"/>
        <pc:sldMkLst>
          <pc:docMk/>
          <pc:sldMk cId="2669495619" sldId="462"/>
        </pc:sldMkLst>
      </pc:sldChg>
      <pc:sldChg chg="modNotes">
        <pc:chgData name="Anne LORIN" userId="S::anne.lorin@esante.gouv.fr::36a05026-be65-4a4f-986d-ceb908be52cf" providerId="AD" clId="Web-{8FF3FABD-0BF6-483A-AA8A-4E3E3C8C5627}" dt="2023-03-17T12:24:36.688" v="39"/>
        <pc:sldMkLst>
          <pc:docMk/>
          <pc:sldMk cId="2626581936" sldId="463"/>
        </pc:sldMkLst>
      </pc:sldChg>
      <pc:sldChg chg="modNotes">
        <pc:chgData name="Anne LORIN" userId="S::anne.lorin@esante.gouv.fr::36a05026-be65-4a4f-986d-ceb908be52cf" providerId="AD" clId="Web-{8FF3FABD-0BF6-483A-AA8A-4E3E3C8C5627}" dt="2023-03-17T12:24:38.922" v="40"/>
        <pc:sldMkLst>
          <pc:docMk/>
          <pc:sldMk cId="1771316235" sldId="464"/>
        </pc:sldMkLst>
      </pc:sldChg>
      <pc:sldChg chg="modNotes">
        <pc:chgData name="Anne LORIN" userId="S::anne.lorin@esante.gouv.fr::36a05026-be65-4a4f-986d-ceb908be52cf" providerId="AD" clId="Web-{8FF3FABD-0BF6-483A-AA8A-4E3E3C8C5627}" dt="2023-03-17T12:24:44.625" v="41"/>
        <pc:sldMkLst>
          <pc:docMk/>
          <pc:sldMk cId="214503046" sldId="465"/>
        </pc:sldMkLst>
      </pc:sldChg>
      <pc:sldChg chg="modNotes">
        <pc:chgData name="Anne LORIN" userId="S::anne.lorin@esante.gouv.fr::36a05026-be65-4a4f-986d-ceb908be52cf" providerId="AD" clId="Web-{8FF3FABD-0BF6-483A-AA8A-4E3E3C8C5627}" dt="2023-03-17T12:25:16.111" v="55"/>
        <pc:sldMkLst>
          <pc:docMk/>
          <pc:sldMk cId="2486996713" sldId="466"/>
        </pc:sldMkLst>
      </pc:sldChg>
      <pc:sldChg chg="add ord modNotes">
        <pc:chgData name="Anne LORIN" userId="S::anne.lorin@esante.gouv.fr::36a05026-be65-4a4f-986d-ceb908be52cf" providerId="AD" clId="Web-{8FF3FABD-0BF6-483A-AA8A-4E3E3C8C5627}" dt="2023-03-17T12:25:10.220" v="53"/>
        <pc:sldMkLst>
          <pc:docMk/>
          <pc:sldMk cId="1193087802" sldId="468"/>
        </pc:sldMkLst>
      </pc:sldChg>
      <pc:sldMasterChg chg="replId modSldLayout">
        <pc:chgData name="Anne LORIN" userId="S::anne.lorin@esante.gouv.fr::36a05026-be65-4a4f-986d-ceb908be52cf" providerId="AD" clId="Web-{8FF3FABD-0BF6-483A-AA8A-4E3E3C8C5627}" dt="2023-03-17T12:23:02.544" v="0"/>
        <pc:sldMasterMkLst>
          <pc:docMk/>
          <pc:sldMasterMk cId="980171494" sldId="2147483804"/>
        </pc:sldMasterMkLst>
        <pc:sldLayoutChg chg="replId">
          <pc:chgData name="Anne LORIN" userId="S::anne.lorin@esante.gouv.fr::36a05026-be65-4a4f-986d-ceb908be52cf" providerId="AD" clId="Web-{8FF3FABD-0BF6-483A-AA8A-4E3E3C8C5627}" dt="2023-03-17T12:23:02.544" v="0"/>
          <pc:sldLayoutMkLst>
            <pc:docMk/>
            <pc:sldMasterMk cId="980171494" sldId="2147483804"/>
            <pc:sldLayoutMk cId="335060275" sldId="2147483799"/>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684922498" sldId="2147483800"/>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2675688232" sldId="2147483801"/>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3959310351" sldId="2147483802"/>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3624058360" sldId="2147483803"/>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2927104737" sldId="2147483805"/>
          </pc:sldLayoutMkLst>
        </pc:sldLayoutChg>
        <pc:sldLayoutChg chg="replId">
          <pc:chgData name="Anne LORIN" userId="S::anne.lorin@esante.gouv.fr::36a05026-be65-4a4f-986d-ceb908be52cf" providerId="AD" clId="Web-{8FF3FABD-0BF6-483A-AA8A-4E3E3C8C5627}" dt="2023-03-17T12:23:02.544" v="0"/>
          <pc:sldLayoutMkLst>
            <pc:docMk/>
            <pc:sldMasterMk cId="980171494" sldId="2147483804"/>
            <pc:sldLayoutMk cId="1175412296" sldId="2147483806"/>
          </pc:sldLayoutMkLst>
        </pc:sldLayoutChg>
      </pc:sldMasterChg>
      <pc:sldMasterChg chg="add addSldLayout">
        <pc:chgData name="Anne LORIN" userId="S::anne.lorin@esante.gouv.fr::36a05026-be65-4a4f-986d-ceb908be52cf" providerId="AD" clId="Web-{8FF3FABD-0BF6-483A-AA8A-4E3E3C8C5627}" dt="2023-03-17T12:23:02.544" v="0"/>
        <pc:sldMasterMkLst>
          <pc:docMk/>
          <pc:sldMasterMk cId="1499314434" sldId="2147483847"/>
        </pc:sldMasterMkLst>
        <pc:sldLayoutChg chg="add">
          <pc:chgData name="Anne LORIN" userId="S::anne.lorin@esante.gouv.fr::36a05026-be65-4a4f-986d-ceb908be52cf" providerId="AD" clId="Web-{8FF3FABD-0BF6-483A-AA8A-4E3E3C8C5627}" dt="2023-03-17T12:23:02.544" v="0"/>
          <pc:sldLayoutMkLst>
            <pc:docMk/>
            <pc:sldMasterMk cId="1499314434" sldId="2147483668"/>
            <pc:sldLayoutMk cId="3257555805" sldId="2147483669"/>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2379281328" sldId="2147483670"/>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1874023281" sldId="2147483671"/>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1335969585" sldId="2147483673"/>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3059511818" sldId="2147483674"/>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3265436970" sldId="2147483675"/>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626340572" sldId="2147483677"/>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2953564470" sldId="2147483807"/>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1064491839" sldId="2147483808"/>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1296959204" sldId="2147483809"/>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4045488275" sldId="2147483810"/>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4020107093" sldId="2147483811"/>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2630794127" sldId="2147483813"/>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1861431178" sldId="2147483814"/>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694366553" sldId="2147483815"/>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604610622" sldId="2147483816"/>
          </pc:sldLayoutMkLst>
        </pc:sldLayoutChg>
        <pc:sldLayoutChg chg="add">
          <pc:chgData name="Anne LORIN" userId="S::anne.lorin@esante.gouv.fr::36a05026-be65-4a4f-986d-ceb908be52cf" providerId="AD" clId="Web-{8FF3FABD-0BF6-483A-AA8A-4E3E3C8C5627}" dt="2023-03-17T12:23:02.544" v="0"/>
          <pc:sldLayoutMkLst>
            <pc:docMk/>
            <pc:sldMasterMk cId="1499314434" sldId="2147483668"/>
            <pc:sldLayoutMk cId="947835991" sldId="2147483848"/>
          </pc:sldLayoutMkLst>
        </pc:sldLayoutChg>
      </pc:sldMasterChg>
    </pc:docChg>
  </pc:docChgLst>
  <pc:docChgLst>
    <pc:chgData name="Anne LORIN" userId="S::anne.lorin@esante.gouv.fr::36a05026-be65-4a4f-986d-ceb908be52cf" providerId="AD" clId="Web-{3F2DB08F-9B13-4A1C-B445-6D12DAB72EDE}"/>
    <pc:docChg chg="modSld">
      <pc:chgData name="Anne LORIN" userId="S::anne.lorin@esante.gouv.fr::36a05026-be65-4a4f-986d-ceb908be52cf" providerId="AD" clId="Web-{3F2DB08F-9B13-4A1C-B445-6D12DAB72EDE}" dt="2023-03-30T16:58:11.959" v="2"/>
      <pc:docMkLst>
        <pc:docMk/>
      </pc:docMkLst>
      <pc:sldChg chg="delSp modSp">
        <pc:chgData name="Anne LORIN" userId="S::anne.lorin@esante.gouv.fr::36a05026-be65-4a4f-986d-ceb908be52cf" providerId="AD" clId="Web-{3F2DB08F-9B13-4A1C-B445-6D12DAB72EDE}" dt="2023-03-30T16:58:11.959" v="2"/>
        <pc:sldMkLst>
          <pc:docMk/>
          <pc:sldMk cId="2353877500" sldId="473"/>
        </pc:sldMkLst>
        <pc:spChg chg="del mod">
          <ac:chgData name="Anne LORIN" userId="S::anne.lorin@esante.gouv.fr::36a05026-be65-4a4f-986d-ceb908be52cf" providerId="AD" clId="Web-{3F2DB08F-9B13-4A1C-B445-6D12DAB72EDE}" dt="2023-03-30T16:58:11.959" v="2"/>
          <ac:spMkLst>
            <pc:docMk/>
            <pc:sldMk cId="2353877500" sldId="473"/>
            <ac:spMk id="4" creationId="{00000000-0000-0000-0000-000000000000}"/>
          </ac:spMkLst>
        </pc:spChg>
        <pc:spChg chg="del">
          <ac:chgData name="Anne LORIN" userId="S::anne.lorin@esante.gouv.fr::36a05026-be65-4a4f-986d-ceb908be52cf" providerId="AD" clId="Web-{3F2DB08F-9B13-4A1C-B445-6D12DAB72EDE}" dt="2023-03-30T16:58:09.755" v="0"/>
          <ac:spMkLst>
            <pc:docMk/>
            <pc:sldMk cId="2353877500" sldId="473"/>
            <ac:spMk id="70" creationId="{00000000-0000-0000-0000-000000000000}"/>
          </ac:spMkLst>
        </pc:spChg>
      </pc:sldChg>
    </pc:docChg>
  </pc:docChgLst>
  <pc:docChgLst>
    <pc:chgData name="Helene Couret" userId="c3d383bf-602b-40c8-a39e-b704214f79b5" providerId="ADAL" clId="{AA48A8B1-1966-471A-9394-0217BFE01EAD}"/>
    <pc:docChg chg="addSld modSld">
      <pc:chgData name="Helene Couret" userId="c3d383bf-602b-40c8-a39e-b704214f79b5" providerId="ADAL" clId="{AA48A8B1-1966-471A-9394-0217BFE01EAD}" dt="2023-03-29T16:53:57.814" v="20" actId="948"/>
      <pc:docMkLst>
        <pc:docMk/>
      </pc:docMkLst>
      <pc:sldChg chg="addSp modSp mod modShow">
        <pc:chgData name="Helene Couret" userId="c3d383bf-602b-40c8-a39e-b704214f79b5" providerId="ADAL" clId="{AA48A8B1-1966-471A-9394-0217BFE01EAD}" dt="2023-03-29T16:33:15.796" v="13" actId="20577"/>
        <pc:sldMkLst>
          <pc:docMk/>
          <pc:sldMk cId="997318773" sldId="460"/>
        </pc:sldMkLst>
        <pc:spChg chg="add mod">
          <ac:chgData name="Helene Couret" userId="c3d383bf-602b-40c8-a39e-b704214f79b5" providerId="ADAL" clId="{AA48A8B1-1966-471A-9394-0217BFE01EAD}" dt="2023-03-29T16:33:15.796" v="13" actId="20577"/>
          <ac:spMkLst>
            <pc:docMk/>
            <pc:sldMk cId="997318773" sldId="460"/>
            <ac:spMk id="3" creationId="{9C974693-38C2-49C5-BF21-3F6AB02CC1D1}"/>
          </ac:spMkLst>
        </pc:spChg>
      </pc:sldChg>
      <pc:sldChg chg="addSp modSp mod modShow">
        <pc:chgData name="Helene Couret" userId="c3d383bf-602b-40c8-a39e-b704214f79b5" providerId="ADAL" clId="{AA48A8B1-1966-471A-9394-0217BFE01EAD}" dt="2023-03-29T16:33:20.146" v="14"/>
        <pc:sldMkLst>
          <pc:docMk/>
          <pc:sldMk cId="2079611774" sldId="461"/>
        </pc:sldMkLst>
        <pc:spChg chg="add mod">
          <ac:chgData name="Helene Couret" userId="c3d383bf-602b-40c8-a39e-b704214f79b5" providerId="ADAL" clId="{AA48A8B1-1966-471A-9394-0217BFE01EAD}" dt="2023-03-29T16:33:20.146" v="14"/>
          <ac:spMkLst>
            <pc:docMk/>
            <pc:sldMk cId="2079611774" sldId="461"/>
            <ac:spMk id="9" creationId="{3D2C2E23-35D8-4270-9DE5-21D005F8734F}"/>
          </ac:spMkLst>
        </pc:spChg>
      </pc:sldChg>
      <pc:sldChg chg="addSp modSp mod modShow">
        <pc:chgData name="Helene Couret" userId="c3d383bf-602b-40c8-a39e-b704214f79b5" providerId="ADAL" clId="{AA48A8B1-1966-471A-9394-0217BFE01EAD}" dt="2023-03-29T16:33:21.294" v="15"/>
        <pc:sldMkLst>
          <pc:docMk/>
          <pc:sldMk cId="2669495619" sldId="462"/>
        </pc:sldMkLst>
        <pc:spChg chg="add mod">
          <ac:chgData name="Helene Couret" userId="c3d383bf-602b-40c8-a39e-b704214f79b5" providerId="ADAL" clId="{AA48A8B1-1966-471A-9394-0217BFE01EAD}" dt="2023-03-29T16:33:21.294" v="15"/>
          <ac:spMkLst>
            <pc:docMk/>
            <pc:sldMk cId="2669495619" sldId="462"/>
            <ac:spMk id="6" creationId="{CB8AA028-6333-4A03-A6A8-43088A3CA717}"/>
          </ac:spMkLst>
        </pc:spChg>
      </pc:sldChg>
      <pc:sldChg chg="add">
        <pc:chgData name="Helene Couret" userId="c3d383bf-602b-40c8-a39e-b704214f79b5" providerId="ADAL" clId="{AA48A8B1-1966-471A-9394-0217BFE01EAD}" dt="2023-03-29T16:33:30.448" v="16"/>
        <pc:sldMkLst>
          <pc:docMk/>
          <pc:sldMk cId="2382400766" sldId="470"/>
        </pc:sldMkLst>
      </pc:sldChg>
      <pc:sldChg chg="add">
        <pc:chgData name="Helene Couret" userId="c3d383bf-602b-40c8-a39e-b704214f79b5" providerId="ADAL" clId="{AA48A8B1-1966-471A-9394-0217BFE01EAD}" dt="2023-03-29T16:33:30.448" v="16"/>
        <pc:sldMkLst>
          <pc:docMk/>
          <pc:sldMk cId="1119274031" sldId="471"/>
        </pc:sldMkLst>
      </pc:sldChg>
      <pc:sldChg chg="modSp add mod">
        <pc:chgData name="Helene Couret" userId="c3d383bf-602b-40c8-a39e-b704214f79b5" providerId="ADAL" clId="{AA48A8B1-1966-471A-9394-0217BFE01EAD}" dt="2023-03-29T16:53:57.814" v="20" actId="948"/>
        <pc:sldMkLst>
          <pc:docMk/>
          <pc:sldMk cId="143415056" sldId="472"/>
        </pc:sldMkLst>
        <pc:spChg chg="mod">
          <ac:chgData name="Helene Couret" userId="c3d383bf-602b-40c8-a39e-b704214f79b5" providerId="ADAL" clId="{AA48A8B1-1966-471A-9394-0217BFE01EAD}" dt="2023-03-29T16:53:57.814" v="20" actId="948"/>
          <ac:spMkLst>
            <pc:docMk/>
            <pc:sldMk cId="143415056" sldId="472"/>
            <ac:spMk id="40" creationId="{E80955D9-33D6-45DE-B470-FA8E00EB223F}"/>
          </ac:spMkLst>
        </pc:spChg>
      </pc:sldChg>
      <pc:sldChg chg="modSp add mod">
        <pc:chgData name="Helene Couret" userId="c3d383bf-602b-40c8-a39e-b704214f79b5" providerId="ADAL" clId="{AA48A8B1-1966-471A-9394-0217BFE01EAD}" dt="2023-03-29T16:53:46.996" v="19" actId="948"/>
        <pc:sldMkLst>
          <pc:docMk/>
          <pc:sldMk cId="2353877500" sldId="473"/>
        </pc:sldMkLst>
        <pc:spChg chg="mod">
          <ac:chgData name="Helene Couret" userId="c3d383bf-602b-40c8-a39e-b704214f79b5" providerId="ADAL" clId="{AA48A8B1-1966-471A-9394-0217BFE01EAD}" dt="2023-03-29T16:53:46.996" v="19" actId="948"/>
          <ac:spMkLst>
            <pc:docMk/>
            <pc:sldMk cId="2353877500" sldId="473"/>
            <ac:spMk id="57" creationId="{14A7C2A6-961E-42FC-8E35-C961C9AA4C7B}"/>
          </ac:spMkLst>
        </pc:spChg>
      </pc:sldChg>
    </pc:docChg>
  </pc:docChgLst>
  <pc:docChgLst>
    <pc:chgData name="Anne LORIN" userId="S::anne.lorin@esante.gouv.fr::36a05026-be65-4a4f-986d-ceb908be52cf" providerId="AD" clId="Web-{57FDB3FF-1005-4428-9453-D03D9844CA0B}"/>
    <pc:docChg chg="modSld">
      <pc:chgData name="Anne LORIN" userId="S::anne.lorin@esante.gouv.fr::36a05026-be65-4a4f-986d-ceb908be52cf" providerId="AD" clId="Web-{57FDB3FF-1005-4428-9453-D03D9844CA0B}" dt="2023-03-30T06:55:47.788" v="1" actId="20577"/>
      <pc:docMkLst>
        <pc:docMk/>
      </pc:docMkLst>
      <pc:sldChg chg="modSp">
        <pc:chgData name="Anne LORIN" userId="S::anne.lorin@esante.gouv.fr::36a05026-be65-4a4f-986d-ceb908be52cf" providerId="AD" clId="Web-{57FDB3FF-1005-4428-9453-D03D9844CA0B}" dt="2023-03-30T06:55:47.788" v="1" actId="20577"/>
        <pc:sldMkLst>
          <pc:docMk/>
          <pc:sldMk cId="3132753612" sldId="332"/>
        </pc:sldMkLst>
        <pc:spChg chg="mod">
          <ac:chgData name="Anne LORIN" userId="S::anne.lorin@esante.gouv.fr::36a05026-be65-4a4f-986d-ceb908be52cf" providerId="AD" clId="Web-{57FDB3FF-1005-4428-9453-D03D9844CA0B}" dt="2023-03-30T06:55:47.788" v="1" actId="20577"/>
          <ac:spMkLst>
            <pc:docMk/>
            <pc:sldMk cId="3132753612" sldId="332"/>
            <ac:spMk id="7" creationId="{00000000-0000-0000-0000-000000000000}"/>
          </ac:spMkLst>
        </pc:spChg>
      </pc:sldChg>
    </pc:docChg>
  </pc:docChgLst>
  <pc:docChgLst>
    <pc:chgData name="Anne LORIN" userId="S::anne.lorin@esante.gouv.fr::36a05026-be65-4a4f-986d-ceb908be52cf" providerId="AD" clId="Web-{8A1EAC2E-658B-4BF8-9160-FD597CA99218}"/>
    <pc:docChg chg="modSld">
      <pc:chgData name="Anne LORIN" userId="S::anne.lorin@esante.gouv.fr::36a05026-be65-4a4f-986d-ceb908be52cf" providerId="AD" clId="Web-{8A1EAC2E-658B-4BF8-9160-FD597CA99218}" dt="2023-03-17T08:27:37.725" v="52"/>
      <pc:docMkLst>
        <pc:docMk/>
      </pc:docMkLst>
      <pc:sldChg chg="modNotes">
        <pc:chgData name="Anne LORIN" userId="S::anne.lorin@esante.gouv.fr::36a05026-be65-4a4f-986d-ceb908be52cf" providerId="AD" clId="Web-{8A1EAC2E-658B-4BF8-9160-FD597CA99218}" dt="2023-03-17T08:27:04.849" v="35"/>
        <pc:sldMkLst>
          <pc:docMk/>
          <pc:sldMk cId="2009670466" sldId="329"/>
        </pc:sldMkLst>
      </pc:sldChg>
      <pc:sldChg chg="modNotes">
        <pc:chgData name="Anne LORIN" userId="S::anne.lorin@esante.gouv.fr::36a05026-be65-4a4f-986d-ceb908be52cf" providerId="AD" clId="Web-{8A1EAC2E-658B-4BF8-9160-FD597CA99218}" dt="2023-03-17T08:27:37.725" v="52"/>
        <pc:sldMkLst>
          <pc:docMk/>
          <pc:sldMk cId="2088581623" sldId="455"/>
        </pc:sldMkLst>
      </pc:sldChg>
      <pc:sldChg chg="modNotes">
        <pc:chgData name="Anne LORIN" userId="S::anne.lorin@esante.gouv.fr::36a05026-be65-4a4f-986d-ceb908be52cf" providerId="AD" clId="Web-{8A1EAC2E-658B-4BF8-9160-FD597CA99218}" dt="2023-03-17T08:26:52.692" v="21"/>
        <pc:sldMkLst>
          <pc:docMk/>
          <pc:sldMk cId="2486996713" sldId="466"/>
        </pc:sldMkLst>
      </pc:sldChg>
    </pc:docChg>
  </pc:docChgLst>
  <pc:docChgLst>
    <pc:chgData name="stephanie.choukroun@assurance-maladie.fr" userId="S::stephanie.choukroun_assurance-maladie.fr#ext#@esante.gouv.fr::af443b45-f6ff-47b7-9156-5acf83ffa520" providerId="AD" clId="Web-{B063BF9B-8095-4B5D-9A93-603383F4C518}"/>
    <pc:docChg chg="addSld modSld sldOrd">
      <pc:chgData name="stephanie.choukroun@assurance-maladie.fr" userId="S::stephanie.choukroun_assurance-maladie.fr#ext#@esante.gouv.fr::af443b45-f6ff-47b7-9156-5acf83ffa520" providerId="AD" clId="Web-{B063BF9B-8095-4B5D-9A93-603383F4C518}" dt="2023-03-30T15:44:33.721" v="273" actId="20577"/>
      <pc:docMkLst>
        <pc:docMk/>
      </pc:docMkLst>
      <pc:sldChg chg="ord">
        <pc:chgData name="stephanie.choukroun@assurance-maladie.fr" userId="S::stephanie.choukroun_assurance-maladie.fr#ext#@esante.gouv.fr::af443b45-f6ff-47b7-9156-5acf83ffa520" providerId="AD" clId="Web-{B063BF9B-8095-4B5D-9A93-603383F4C518}" dt="2023-03-30T15:39:19.069" v="16"/>
        <pc:sldMkLst>
          <pc:docMk/>
          <pc:sldMk cId="333822725" sldId="467"/>
        </pc:sldMkLst>
      </pc:sldChg>
      <pc:sldChg chg="addSp delSp modSp add replId">
        <pc:chgData name="stephanie.choukroun@assurance-maladie.fr" userId="S::stephanie.choukroun_assurance-maladie.fr#ext#@esante.gouv.fr::af443b45-f6ff-47b7-9156-5acf83ffa520" providerId="AD" clId="Web-{B063BF9B-8095-4B5D-9A93-603383F4C518}" dt="2023-03-30T15:39:06.256" v="14"/>
        <pc:sldMkLst>
          <pc:docMk/>
          <pc:sldMk cId="839362017" sldId="480"/>
        </pc:sldMkLst>
        <pc:spChg chg="mod">
          <ac:chgData name="stephanie.choukroun@assurance-maladie.fr" userId="S::stephanie.choukroun_assurance-maladie.fr#ext#@esante.gouv.fr::af443b45-f6ff-47b7-9156-5acf83ffa520" providerId="AD" clId="Web-{B063BF9B-8095-4B5D-9A93-603383F4C518}" dt="2023-03-30T15:39:00.412" v="12" actId="20577"/>
          <ac:spMkLst>
            <pc:docMk/>
            <pc:sldMk cId="839362017" sldId="480"/>
            <ac:spMk id="2" creationId="{00000000-0000-0000-0000-000000000000}"/>
          </ac:spMkLst>
        </pc:spChg>
        <pc:spChg chg="del">
          <ac:chgData name="stephanie.choukroun@assurance-maladie.fr" userId="S::stephanie.choukroun_assurance-maladie.fr#ext#@esante.gouv.fr::af443b45-f6ff-47b7-9156-5acf83ffa520" providerId="AD" clId="Web-{B063BF9B-8095-4B5D-9A93-603383F4C518}" dt="2023-03-30T15:39:04.084" v="13"/>
          <ac:spMkLst>
            <pc:docMk/>
            <pc:sldMk cId="839362017" sldId="480"/>
            <ac:spMk id="3" creationId="{00000000-0000-0000-0000-000000000000}"/>
          </ac:spMkLst>
        </pc:spChg>
        <pc:spChg chg="add del mod">
          <ac:chgData name="stephanie.choukroun@assurance-maladie.fr" userId="S::stephanie.choukroun_assurance-maladie.fr#ext#@esante.gouv.fr::af443b45-f6ff-47b7-9156-5acf83ffa520" providerId="AD" clId="Web-{B063BF9B-8095-4B5D-9A93-603383F4C518}" dt="2023-03-30T15:39:06.256" v="14"/>
          <ac:spMkLst>
            <pc:docMk/>
            <pc:sldMk cId="839362017" sldId="480"/>
            <ac:spMk id="5" creationId="{ACDCE423-3F16-A063-2626-56B46ED04754}"/>
          </ac:spMkLst>
        </pc:spChg>
      </pc:sldChg>
      <pc:sldChg chg="delSp modSp add replId">
        <pc:chgData name="stephanie.choukroun@assurance-maladie.fr" userId="S::stephanie.choukroun_assurance-maladie.fr#ext#@esante.gouv.fr::af443b45-f6ff-47b7-9156-5acf83ffa520" providerId="AD" clId="Web-{B063BF9B-8095-4B5D-9A93-603383F4C518}" dt="2023-03-30T15:44:33.721" v="273" actId="20577"/>
        <pc:sldMkLst>
          <pc:docMk/>
          <pc:sldMk cId="804705725" sldId="481"/>
        </pc:sldMkLst>
        <pc:spChg chg="mod">
          <ac:chgData name="stephanie.choukroun@assurance-maladie.fr" userId="S::stephanie.choukroun_assurance-maladie.fr#ext#@esante.gouv.fr::af443b45-f6ff-47b7-9156-5acf83ffa520" providerId="AD" clId="Web-{B063BF9B-8095-4B5D-9A93-603383F4C518}" dt="2023-03-30T15:39:43.132" v="46" actId="1076"/>
          <ac:spMkLst>
            <pc:docMk/>
            <pc:sldMk cId="804705725" sldId="481"/>
            <ac:spMk id="2" creationId="{00000000-0000-0000-0000-000000000000}"/>
          </ac:spMkLst>
        </pc:spChg>
        <pc:spChg chg="mod">
          <ac:chgData name="stephanie.choukroun@assurance-maladie.fr" userId="S::stephanie.choukroun_assurance-maladie.fr#ext#@esante.gouv.fr::af443b45-f6ff-47b7-9156-5acf83ffa520" providerId="AD" clId="Web-{B063BF9B-8095-4B5D-9A93-603383F4C518}" dt="2023-03-30T15:44:33.721" v="273" actId="20577"/>
          <ac:spMkLst>
            <pc:docMk/>
            <pc:sldMk cId="804705725" sldId="481"/>
            <ac:spMk id="14" creationId="{5A4179A7-7083-4FB0-AC8A-7BF25C736E44}"/>
          </ac:spMkLst>
        </pc:spChg>
        <pc:spChg chg="del">
          <ac:chgData name="stephanie.choukroun@assurance-maladie.fr" userId="S::stephanie.choukroun_assurance-maladie.fr#ext#@esante.gouv.fr::af443b45-f6ff-47b7-9156-5acf83ffa520" providerId="AD" clId="Web-{B063BF9B-8095-4B5D-9A93-603383F4C518}" dt="2023-03-30T15:41:15.776" v="123"/>
          <ac:spMkLst>
            <pc:docMk/>
            <pc:sldMk cId="804705725" sldId="481"/>
            <ac:spMk id="15" creationId="{0A2DAE55-A6AA-4B37-9267-7F7DD14785C2}"/>
          </ac:spMkLst>
        </pc:spChg>
        <pc:spChg chg="del mod">
          <ac:chgData name="stephanie.choukroun@assurance-maladie.fr" userId="S::stephanie.choukroun_assurance-maladie.fr#ext#@esante.gouv.fr::af443b45-f6ff-47b7-9156-5acf83ffa520" providerId="AD" clId="Web-{B063BF9B-8095-4B5D-9A93-603383F4C518}" dt="2023-03-30T15:42:23.888" v="157"/>
          <ac:spMkLst>
            <pc:docMk/>
            <pc:sldMk cId="804705725" sldId="481"/>
            <ac:spMk id="16" creationId="{BFD8D154-2D61-4AA8-B658-690FCBB02640}"/>
          </ac:spMkLst>
        </pc:spChg>
        <pc:picChg chg="del">
          <ac:chgData name="stephanie.choukroun@assurance-maladie.fr" userId="S::stephanie.choukroun_assurance-maladie.fr#ext#@esante.gouv.fr::af443b45-f6ff-47b7-9156-5acf83ffa520" providerId="AD" clId="Web-{B063BF9B-8095-4B5D-9A93-603383F4C518}" dt="2023-03-30T15:39:22.085" v="18"/>
          <ac:picMkLst>
            <pc:docMk/>
            <pc:sldMk cId="804705725" sldId="481"/>
            <ac:picMk id="17" creationId="{6201ED2E-A9A9-40A2-99FF-0F1BA48BC622}"/>
          </ac:picMkLst>
        </pc:picChg>
        <pc:picChg chg="del">
          <ac:chgData name="stephanie.choukroun@assurance-maladie.fr" userId="S::stephanie.choukroun_assurance-maladie.fr#ext#@esante.gouv.fr::af443b45-f6ff-47b7-9156-5acf83ffa520" providerId="AD" clId="Web-{B063BF9B-8095-4B5D-9A93-603383F4C518}" dt="2023-03-30T15:39:22.569" v="19"/>
          <ac:picMkLst>
            <pc:docMk/>
            <pc:sldMk cId="804705725" sldId="481"/>
            <ac:picMk id="18" creationId="{943D91B7-B168-4E74-82B2-B8DDE183EDF7}"/>
          </ac:picMkLst>
        </pc:picChg>
        <pc:picChg chg="del">
          <ac:chgData name="stephanie.choukroun@assurance-maladie.fr" userId="S::stephanie.choukroun_assurance-maladie.fr#ext#@esante.gouv.fr::af443b45-f6ff-47b7-9156-5acf83ffa520" providerId="AD" clId="Web-{B063BF9B-8095-4B5D-9A93-603383F4C518}" dt="2023-03-30T15:39:21.179" v="17"/>
          <ac:picMkLst>
            <pc:docMk/>
            <pc:sldMk cId="804705725" sldId="481"/>
            <ac:picMk id="19" creationId="{6F059806-2138-45E5-884C-8019BDF2DA77}"/>
          </ac:picMkLst>
        </pc:picChg>
      </pc:sldChg>
    </pc:docChg>
  </pc:docChgLst>
  <pc:docChgLst>
    <pc:chgData name="Anne LORIN" userId="S::anne.lorin@esante.gouv.fr::36a05026-be65-4a4f-986d-ceb908be52cf" providerId="AD" clId="Web-{7F216E49-4DDE-4F1D-BF72-33C0E1172C1D}"/>
    <pc:docChg chg="addSld modSld addMainMaster modMainMaster">
      <pc:chgData name="Anne LORIN" userId="S::anne.lorin@esante.gouv.fr::36a05026-be65-4a4f-986d-ceb908be52cf" providerId="AD" clId="Web-{7F216E49-4DDE-4F1D-BF72-33C0E1172C1D}" dt="2023-03-17T14:56:32.353" v="13"/>
      <pc:docMkLst>
        <pc:docMk/>
      </pc:docMkLst>
      <pc:sldChg chg="addSp modSp">
        <pc:chgData name="Anne LORIN" userId="S::anne.lorin@esante.gouv.fr::36a05026-be65-4a4f-986d-ceb908be52cf" providerId="AD" clId="Web-{7F216E49-4DDE-4F1D-BF72-33C0E1172C1D}" dt="2023-03-17T14:56:32.353" v="13"/>
        <pc:sldMkLst>
          <pc:docMk/>
          <pc:sldMk cId="2009670466" sldId="329"/>
        </pc:sldMkLst>
        <pc:spChg chg="add mod">
          <ac:chgData name="Anne LORIN" userId="S::anne.lorin@esante.gouv.fr::36a05026-be65-4a4f-986d-ceb908be52cf" providerId="AD" clId="Web-{7F216E49-4DDE-4F1D-BF72-33C0E1172C1D}" dt="2023-03-17T14:56:32.353" v="13"/>
          <ac:spMkLst>
            <pc:docMk/>
            <pc:sldMk cId="2009670466" sldId="329"/>
            <ac:spMk id="3" creationId="{18F3B6B0-B477-B958-6C57-58FF50EBF006}"/>
          </ac:spMkLst>
        </pc:spChg>
      </pc:sldChg>
      <pc:sldChg chg="add">
        <pc:chgData name="Anne LORIN" userId="S::anne.lorin@esante.gouv.fr::36a05026-be65-4a4f-986d-ceb908be52cf" providerId="AD" clId="Web-{7F216E49-4DDE-4F1D-BF72-33C0E1172C1D}" dt="2023-03-17T14:55:39.820" v="0"/>
        <pc:sldMkLst>
          <pc:docMk/>
          <pc:sldMk cId="102504197" sldId="469"/>
        </pc:sldMkLst>
      </pc:sldChg>
      <pc:sldMasterChg chg="add addSldLayout">
        <pc:chgData name="Anne LORIN" userId="S::anne.lorin@esante.gouv.fr::36a05026-be65-4a4f-986d-ceb908be52cf" providerId="AD" clId="Web-{7F216E49-4DDE-4F1D-BF72-33C0E1172C1D}" dt="2023-03-17T14:55:39.820" v="0"/>
        <pc:sldMasterMkLst>
          <pc:docMk/>
          <pc:sldMasterMk cId="2231654515" sldId="2147483700"/>
        </pc:sldMasterMkLst>
        <pc:sldLayoutChg chg="add">
          <pc:chgData name="Anne LORIN" userId="S::anne.lorin@esante.gouv.fr::36a05026-be65-4a4f-986d-ceb908be52cf" providerId="AD" clId="Web-{7F216E49-4DDE-4F1D-BF72-33C0E1172C1D}" dt="2023-03-17T14:55:39.820" v="0"/>
          <pc:sldLayoutMkLst>
            <pc:docMk/>
            <pc:sldMasterMk cId="2231654515" sldId="2147483700"/>
            <pc:sldLayoutMk cId="2794098575" sldId="2147483701"/>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247699542" sldId="2147483702"/>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71889935" sldId="2147483703"/>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16737717" sldId="2147483704"/>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56198481" sldId="2147483705"/>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99062617" sldId="2147483706"/>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783558183" sldId="2147483707"/>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208366527" sldId="2147483708"/>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154080224" sldId="2147483709"/>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182575017" sldId="2147483710"/>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341860060" sldId="2147483711"/>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656570631" sldId="2147483712"/>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163977881" sldId="2147483713"/>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995245103" sldId="2147483714"/>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928303824" sldId="2147483715"/>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384524922" sldId="2147483716"/>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1387982374" sldId="2147483717"/>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011133968" sldId="2147483718"/>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345322836" sldId="2147483719"/>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375432940" sldId="2147483720"/>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024740315" sldId="2147483721"/>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568767943" sldId="2147483722"/>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9440033" sldId="2147483723"/>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958403921" sldId="2147483724"/>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536963263" sldId="2147483725"/>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1669699238" sldId="2147483726"/>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703609994" sldId="2147483727"/>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327722941" sldId="2147483728"/>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4229087627" sldId="2147483729"/>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566701564" sldId="2147483730"/>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379181327" sldId="2147483731"/>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207480450" sldId="2147483732"/>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4229319586" sldId="2147483733"/>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4107950827" sldId="2147483734"/>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2490466051" sldId="2147483735"/>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1532165164" sldId="2147483736"/>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172839961" sldId="2147483737"/>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404973746" sldId="2147483741"/>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460604785" sldId="2147483742"/>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773011312" sldId="2147483743"/>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1972631655" sldId="2147483744"/>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3661103844" sldId="2147483745"/>
          </pc:sldLayoutMkLst>
        </pc:sldLayoutChg>
        <pc:sldLayoutChg chg="add">
          <pc:chgData name="Anne LORIN" userId="S::anne.lorin@esante.gouv.fr::36a05026-be65-4a4f-986d-ceb908be52cf" providerId="AD" clId="Web-{7F216E49-4DDE-4F1D-BF72-33C0E1172C1D}" dt="2023-03-17T14:55:39.820" v="0"/>
          <pc:sldLayoutMkLst>
            <pc:docMk/>
            <pc:sldMasterMk cId="2231654515" sldId="2147483700"/>
            <pc:sldLayoutMk cId="4164804739" sldId="2147483746"/>
          </pc:sldLayoutMkLst>
        </pc:sldLayoutChg>
      </pc:sldMasterChg>
      <pc:sldMasterChg chg="modSldLayout">
        <pc:chgData name="Anne LORIN" userId="S::anne.lorin@esante.gouv.fr::36a05026-be65-4a4f-986d-ceb908be52cf" providerId="AD" clId="Web-{7F216E49-4DDE-4F1D-BF72-33C0E1172C1D}" dt="2023-03-17T14:55:39.820" v="0"/>
        <pc:sldMasterMkLst>
          <pc:docMk/>
          <pc:sldMasterMk cId="980171494" sldId="2147483804"/>
        </pc:sldMasterMkLst>
        <pc:sldLayoutChg chg="replId">
          <pc:chgData name="Anne LORIN" userId="S::anne.lorin@esante.gouv.fr::36a05026-be65-4a4f-986d-ceb908be52cf" providerId="AD" clId="Web-{7F216E49-4DDE-4F1D-BF72-33C0E1172C1D}" dt="2023-03-17T14:55:39.820" v="0"/>
          <pc:sldLayoutMkLst>
            <pc:docMk/>
            <pc:sldMasterMk cId="980171494" sldId="2147483804"/>
            <pc:sldLayoutMk cId="4226875575" sldId="2147483812"/>
          </pc:sldLayoutMkLst>
        </pc:sldLayoutChg>
        <pc:sldLayoutChg chg="replId">
          <pc:chgData name="Anne LORIN" userId="S::anne.lorin@esante.gouv.fr::36a05026-be65-4a4f-986d-ceb908be52cf" providerId="AD" clId="Web-{7F216E49-4DDE-4F1D-BF72-33C0E1172C1D}" dt="2023-03-17T14:55:39.820" v="0"/>
          <pc:sldLayoutMkLst>
            <pc:docMk/>
            <pc:sldMasterMk cId="980171494" sldId="2147483804"/>
            <pc:sldLayoutMk cId="2691430038" sldId="2147483817"/>
          </pc:sldLayoutMkLst>
        </pc:sldLayoutChg>
        <pc:sldLayoutChg chg="replId">
          <pc:chgData name="Anne LORIN" userId="S::anne.lorin@esante.gouv.fr::36a05026-be65-4a4f-986d-ceb908be52cf" providerId="AD" clId="Web-{7F216E49-4DDE-4F1D-BF72-33C0E1172C1D}" dt="2023-03-17T14:55:39.820" v="0"/>
          <pc:sldLayoutMkLst>
            <pc:docMk/>
            <pc:sldMasterMk cId="980171494" sldId="2147483804"/>
            <pc:sldLayoutMk cId="4252532380" sldId="2147483818"/>
          </pc:sldLayoutMkLst>
        </pc:sldLayoutChg>
        <pc:sldLayoutChg chg="replId">
          <pc:chgData name="Anne LORIN" userId="S::anne.lorin@esante.gouv.fr::36a05026-be65-4a4f-986d-ceb908be52cf" providerId="AD" clId="Web-{7F216E49-4DDE-4F1D-BF72-33C0E1172C1D}" dt="2023-03-17T14:55:39.820" v="0"/>
          <pc:sldLayoutMkLst>
            <pc:docMk/>
            <pc:sldMasterMk cId="980171494" sldId="2147483804"/>
            <pc:sldLayoutMk cId="1579808111" sldId="2147483819"/>
          </pc:sldLayoutMkLst>
        </pc:sldLayoutChg>
        <pc:sldLayoutChg chg="replId">
          <pc:chgData name="Anne LORIN" userId="S::anne.lorin@esante.gouv.fr::36a05026-be65-4a4f-986d-ceb908be52cf" providerId="AD" clId="Web-{7F216E49-4DDE-4F1D-BF72-33C0E1172C1D}" dt="2023-03-17T14:55:39.820" v="0"/>
          <pc:sldLayoutMkLst>
            <pc:docMk/>
            <pc:sldMasterMk cId="980171494" sldId="2147483804"/>
            <pc:sldLayoutMk cId="2650282565" sldId="2147483820"/>
          </pc:sldLayoutMkLst>
        </pc:sldLayoutChg>
      </pc:sldMasterChg>
      <pc:sldMasterChg chg="modSldLayout">
        <pc:chgData name="Anne LORIN" userId="S::anne.lorin@esante.gouv.fr::36a05026-be65-4a4f-986d-ceb908be52cf" providerId="AD" clId="Web-{7F216E49-4DDE-4F1D-BF72-33C0E1172C1D}" dt="2023-03-17T14:55:39.820" v="0"/>
        <pc:sldMasterMkLst>
          <pc:docMk/>
          <pc:sldMasterMk cId="1499314434" sldId="2147483847"/>
        </pc:sldMasterMkLst>
        <pc:sldLayoutChg chg="replId">
          <pc:chgData name="Anne LORIN" userId="S::anne.lorin@esante.gouv.fr::36a05026-be65-4a4f-986d-ceb908be52cf" providerId="AD" clId="Web-{7F216E49-4DDE-4F1D-BF72-33C0E1172C1D}" dt="2023-03-17T14:55:39.820" v="0"/>
          <pc:sldLayoutMkLst>
            <pc:docMk/>
            <pc:sldMasterMk cId="1499314434" sldId="2147483668"/>
            <pc:sldLayoutMk cId="2953564470" sldId="2147483807"/>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1064491839" sldId="2147483808"/>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1296959204" sldId="2147483809"/>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4045488275" sldId="2147483810"/>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4020107093" sldId="2147483811"/>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2630794127" sldId="2147483813"/>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1861431178" sldId="2147483814"/>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694366553" sldId="2147483815"/>
          </pc:sldLayoutMkLst>
        </pc:sldLayoutChg>
        <pc:sldLayoutChg chg="replId">
          <pc:chgData name="Anne LORIN" userId="S::anne.lorin@esante.gouv.fr::36a05026-be65-4a4f-986d-ceb908be52cf" providerId="AD" clId="Web-{7F216E49-4DDE-4F1D-BF72-33C0E1172C1D}" dt="2023-03-17T14:55:39.820" v="0"/>
          <pc:sldLayoutMkLst>
            <pc:docMk/>
            <pc:sldMasterMk cId="1499314434" sldId="2147483668"/>
            <pc:sldLayoutMk cId="604610622" sldId="2147483816"/>
          </pc:sldLayoutMkLst>
        </pc:sldLayoutChg>
      </pc:sldMasterChg>
    </pc:docChg>
  </pc:docChgLst>
  <pc:docChgLst>
    <pc:chgData name="Anne LORIN" userId="S::anne.lorin@esante.gouv.fr::36a05026-be65-4a4f-986d-ceb908be52cf" providerId="AD" clId="Web-{4A796B55-0F1E-487E-931E-EFF8D312F452}"/>
    <pc:docChg chg="addSld sldOrd addMainMaster">
      <pc:chgData name="Anne LORIN" userId="S::anne.lorin@esante.gouv.fr::36a05026-be65-4a4f-986d-ceb908be52cf" providerId="AD" clId="Web-{4A796B55-0F1E-487E-931E-EFF8D312F452}" dt="2023-03-30T15:39:51.049" v="1"/>
      <pc:docMkLst>
        <pc:docMk/>
      </pc:docMkLst>
      <pc:sldChg chg="add ord">
        <pc:chgData name="Anne LORIN" userId="S::anne.lorin@esante.gouv.fr::36a05026-be65-4a4f-986d-ceb908be52cf" providerId="AD" clId="Web-{4A796B55-0F1E-487E-931E-EFF8D312F452}" dt="2023-03-30T15:39:51.049" v="1"/>
        <pc:sldMkLst>
          <pc:docMk/>
          <pc:sldMk cId="1104518658" sldId="482"/>
        </pc:sldMkLst>
      </pc:sldChg>
      <pc:sldMasterChg chg="add addSldLayout">
        <pc:chgData name="Anne LORIN" userId="S::anne.lorin@esante.gouv.fr::36a05026-be65-4a4f-986d-ceb908be52cf" providerId="AD" clId="Web-{4A796B55-0F1E-487E-931E-EFF8D312F452}" dt="2023-03-30T15:39:46.862" v="0"/>
        <pc:sldMasterMkLst>
          <pc:docMk/>
          <pc:sldMasterMk cId="2753305579" sldId="2147483747"/>
        </pc:sldMasterMkLst>
        <pc:sldLayoutChg chg="add">
          <pc:chgData name="Anne LORIN" userId="S::anne.lorin@esante.gouv.fr::36a05026-be65-4a4f-986d-ceb908be52cf" providerId="AD" clId="Web-{4A796B55-0F1E-487E-931E-EFF8D312F452}" dt="2023-03-30T15:39:46.862" v="0"/>
          <pc:sldLayoutMkLst>
            <pc:docMk/>
            <pc:sldMasterMk cId="2753305579" sldId="2147483747"/>
            <pc:sldLayoutMk cId="861171666" sldId="2147483748"/>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577209515" sldId="2147483749"/>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3164016775" sldId="2147483750"/>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1981215429" sldId="2147483751"/>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520162131" sldId="2147483752"/>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3291967457" sldId="2147483753"/>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3867635451" sldId="2147483754"/>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2151592677" sldId="2147483755"/>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200337623" sldId="2147483756"/>
          </pc:sldLayoutMkLst>
        </pc:sldLayoutChg>
        <pc:sldLayoutChg chg="add">
          <pc:chgData name="Anne LORIN" userId="S::anne.lorin@esante.gouv.fr::36a05026-be65-4a4f-986d-ceb908be52cf" providerId="AD" clId="Web-{4A796B55-0F1E-487E-931E-EFF8D312F452}" dt="2023-03-30T15:39:46.862" v="0"/>
          <pc:sldLayoutMkLst>
            <pc:docMk/>
            <pc:sldMasterMk cId="2753305579" sldId="2147483747"/>
            <pc:sldLayoutMk cId="1300608824" sldId="2147483757"/>
          </pc:sldLayoutMkLst>
        </pc:sldLayoutChg>
      </pc:sldMasterChg>
    </pc:docChg>
  </pc:docChgLst>
  <pc:docChgLst>
    <pc:chgData name="Anne LORIN" userId="S::anne.lorin@esante.gouv.fr::36a05026-be65-4a4f-986d-ceb908be52cf" providerId="AD" clId="Web-{BEAE612B-E886-47DA-AEF2-901958522349}"/>
    <pc:docChg chg="modSld">
      <pc:chgData name="Anne LORIN" userId="S::anne.lorin@esante.gouv.fr::36a05026-be65-4a4f-986d-ceb908be52cf" providerId="AD" clId="Web-{BEAE612B-E886-47DA-AEF2-901958522349}" dt="2023-03-30T14:52:55.779" v="3" actId="20577"/>
      <pc:docMkLst>
        <pc:docMk/>
      </pc:docMkLst>
      <pc:sldChg chg="modSp">
        <pc:chgData name="Anne LORIN" userId="S::anne.lorin@esante.gouv.fr::36a05026-be65-4a4f-986d-ceb908be52cf" providerId="AD" clId="Web-{BEAE612B-E886-47DA-AEF2-901958522349}" dt="2023-03-30T14:52:55.779" v="3" actId="20577"/>
        <pc:sldMkLst>
          <pc:docMk/>
          <pc:sldMk cId="2002041218" sldId="259"/>
        </pc:sldMkLst>
        <pc:spChg chg="mod">
          <ac:chgData name="Anne LORIN" userId="S::anne.lorin@esante.gouv.fr::36a05026-be65-4a4f-986d-ceb908be52cf" providerId="AD" clId="Web-{BEAE612B-E886-47DA-AEF2-901958522349}" dt="2023-03-30T14:52:55.779" v="3" actId="20577"/>
          <ac:spMkLst>
            <pc:docMk/>
            <pc:sldMk cId="2002041218" sldId="259"/>
            <ac:spMk id="5" creationId="{B559ACC8-F74D-514E-86DD-E3B2B723A17D}"/>
          </ac:spMkLst>
        </pc:spChg>
      </pc:sldChg>
    </pc:docChg>
  </pc:docChgLst>
  <pc:docChgLst>
    <pc:chgData name="Anne LORIN" userId="36a05026-be65-4a4f-986d-ceb908be52cf" providerId="ADAL" clId="{592D29AD-7898-4E6B-A56B-B8EA8C24EC7B}"/>
    <pc:docChg chg="custSel modSld">
      <pc:chgData name="Anne LORIN" userId="36a05026-be65-4a4f-986d-ceb908be52cf" providerId="ADAL" clId="{592D29AD-7898-4E6B-A56B-B8EA8C24EC7B}" dt="2022-04-20T16:18:08.603" v="47"/>
      <pc:docMkLst>
        <pc:docMk/>
      </pc:docMkLst>
      <pc:sldChg chg="modSp mod">
        <pc:chgData name="Anne LORIN" userId="36a05026-be65-4a4f-986d-ceb908be52cf" providerId="ADAL" clId="{592D29AD-7898-4E6B-A56B-B8EA8C24EC7B}" dt="2022-04-20T16:17:42.944" v="18" actId="207"/>
        <pc:sldMkLst>
          <pc:docMk/>
          <pc:sldMk cId="4069880499" sldId="256"/>
        </pc:sldMkLst>
        <pc:spChg chg="mod">
          <ac:chgData name="Anne LORIN" userId="36a05026-be65-4a4f-986d-ceb908be52cf" providerId="ADAL" clId="{592D29AD-7898-4E6B-A56B-B8EA8C24EC7B}" dt="2022-04-20T16:17:42.944" v="18" actId="207"/>
          <ac:spMkLst>
            <pc:docMk/>
            <pc:sldMk cId="4069880499" sldId="256"/>
            <ac:spMk id="10" creationId="{C4E5FEEC-D060-5D42-8488-EFF027E25336}"/>
          </ac:spMkLst>
        </pc:spChg>
      </pc:sldChg>
      <pc:sldChg chg="addSp modSp mod">
        <pc:chgData name="Anne LORIN" userId="36a05026-be65-4a4f-986d-ceb908be52cf" providerId="ADAL" clId="{592D29AD-7898-4E6B-A56B-B8EA8C24EC7B}" dt="2022-04-20T16:18:05.134" v="46" actId="20577"/>
        <pc:sldMkLst>
          <pc:docMk/>
          <pc:sldMk cId="3842312509" sldId="421"/>
        </pc:sldMkLst>
        <pc:spChg chg="add mod">
          <ac:chgData name="Anne LORIN" userId="36a05026-be65-4a4f-986d-ceb908be52cf" providerId="ADAL" clId="{592D29AD-7898-4E6B-A56B-B8EA8C24EC7B}" dt="2022-04-20T16:18:05.134" v="46" actId="20577"/>
          <ac:spMkLst>
            <pc:docMk/>
            <pc:sldMk cId="3842312509" sldId="421"/>
            <ac:spMk id="9" creationId="{F178AC8A-6D02-4138-81EE-5712CE971001}"/>
          </ac:spMkLst>
        </pc:spChg>
      </pc:sldChg>
      <pc:sldChg chg="addSp modSp">
        <pc:chgData name="Anne LORIN" userId="36a05026-be65-4a4f-986d-ceb908be52cf" providerId="ADAL" clId="{592D29AD-7898-4E6B-A56B-B8EA8C24EC7B}" dt="2022-04-20T16:18:08.603" v="47"/>
        <pc:sldMkLst>
          <pc:docMk/>
          <pc:sldMk cId="1408951308" sldId="422"/>
        </pc:sldMkLst>
        <pc:spChg chg="add mod">
          <ac:chgData name="Anne LORIN" userId="36a05026-be65-4a4f-986d-ceb908be52cf" providerId="ADAL" clId="{592D29AD-7898-4E6B-A56B-B8EA8C24EC7B}" dt="2022-04-20T16:18:08.603" v="47"/>
          <ac:spMkLst>
            <pc:docMk/>
            <pc:sldMk cId="1408951308" sldId="422"/>
            <ac:spMk id="9" creationId="{E49DC00B-A307-4FE4-9940-FC50FE9F32C6}"/>
          </ac:spMkLst>
        </pc:spChg>
      </pc:sldChg>
    </pc:docChg>
  </pc:docChgLst>
  <pc:docChgLst>
    <pc:chgData name="Anne LORIN" userId="S::anne.lorin@esante.gouv.fr::36a05026-be65-4a4f-986d-ceb908be52cf" providerId="AD" clId="Web-{03C958F6-EB3F-4D7F-B2FE-AE63BF4DE023}"/>
    <pc:docChg chg="modSld">
      <pc:chgData name="Anne LORIN" userId="S::anne.lorin@esante.gouv.fr::36a05026-be65-4a4f-986d-ceb908be52cf" providerId="AD" clId="Web-{03C958F6-EB3F-4D7F-B2FE-AE63BF4DE023}" dt="2023-03-23T15:07:50.859" v="15" actId="14100"/>
      <pc:docMkLst>
        <pc:docMk/>
      </pc:docMkLst>
      <pc:sldChg chg="modSp">
        <pc:chgData name="Anne LORIN" userId="S::anne.lorin@esante.gouv.fr::36a05026-be65-4a4f-986d-ceb908be52cf" providerId="AD" clId="Web-{03C958F6-EB3F-4D7F-B2FE-AE63BF4DE023}" dt="2023-03-23T15:07:50.859" v="15" actId="14100"/>
        <pc:sldMkLst>
          <pc:docMk/>
          <pc:sldMk cId="3208219882" sldId="357"/>
        </pc:sldMkLst>
        <pc:spChg chg="mod">
          <ac:chgData name="Anne LORIN" userId="S::anne.lorin@esante.gouv.fr::36a05026-be65-4a4f-986d-ceb908be52cf" providerId="AD" clId="Web-{03C958F6-EB3F-4D7F-B2FE-AE63BF4DE023}" dt="2023-03-23T15:07:50.859" v="15" actId="14100"/>
          <ac:spMkLst>
            <pc:docMk/>
            <pc:sldMk cId="3208219882" sldId="357"/>
            <ac:spMk id="3" creationId="{00000000-0000-0000-0000-000000000000}"/>
          </ac:spMkLst>
        </pc:spChg>
      </pc:sldChg>
    </pc:docChg>
  </pc:docChgLst>
  <pc:docChgLst>
    <pc:chgData name="Anne LORIN" userId="S::anne.lorin@esante.gouv.fr::36a05026-be65-4a4f-986d-ceb908be52cf" providerId="AD" clId="Web-{6DDB047F-C1E4-4FCC-A9F7-43A19EA15656}"/>
    <pc:docChg chg="delSld modSld">
      <pc:chgData name="Anne LORIN" userId="S::anne.lorin@esante.gouv.fr::36a05026-be65-4a4f-986d-ceb908be52cf" providerId="AD" clId="Web-{6DDB047F-C1E4-4FCC-A9F7-43A19EA15656}" dt="2023-03-30T07:07:56.973" v="1"/>
      <pc:docMkLst>
        <pc:docMk/>
      </pc:docMkLst>
      <pc:sldChg chg="del">
        <pc:chgData name="Anne LORIN" userId="S::anne.lorin@esante.gouv.fr::36a05026-be65-4a4f-986d-ceb908be52cf" providerId="AD" clId="Web-{6DDB047F-C1E4-4FCC-A9F7-43A19EA15656}" dt="2023-03-30T07:07:53.348" v="0"/>
        <pc:sldMkLst>
          <pc:docMk/>
          <pc:sldMk cId="143415056" sldId="472"/>
        </pc:sldMkLst>
      </pc:sldChg>
      <pc:sldChg chg="delSp">
        <pc:chgData name="Anne LORIN" userId="S::anne.lorin@esante.gouv.fr::36a05026-be65-4a4f-986d-ceb908be52cf" providerId="AD" clId="Web-{6DDB047F-C1E4-4FCC-A9F7-43A19EA15656}" dt="2023-03-30T07:07:56.973" v="1"/>
        <pc:sldMkLst>
          <pc:docMk/>
          <pc:sldMk cId="2353877500" sldId="473"/>
        </pc:sldMkLst>
        <pc:spChg chg="del">
          <ac:chgData name="Anne LORIN" userId="S::anne.lorin@esante.gouv.fr::36a05026-be65-4a4f-986d-ceb908be52cf" providerId="AD" clId="Web-{6DDB047F-C1E4-4FCC-A9F7-43A19EA15656}" dt="2023-03-30T07:07:56.973" v="1"/>
          <ac:spMkLst>
            <pc:docMk/>
            <pc:sldMk cId="2353877500" sldId="473"/>
            <ac:spMk id="68" creationId="{9A463352-87DB-4FDF-BEA2-1FD2E5859D16}"/>
          </ac:spMkLst>
        </pc:sp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Feuille_de_calcul_149_77C92342.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https://people.ey.com/personal/helene_couret_fr_ey_com/Documents/Documents/1.%20Missions/DIONIS%20DMP/02_Deploiement/6_Divers/12_JNCIS/22%2004%2030_TB_ELT_NAT_49%20%20_%20Alimentations%20DMP%20mensuelles%20(hors%20HR)%20par%20cat&#233;gorie%20d'activit&#233;%20-%20nomb"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Feuil1!$B$1</c:f>
              <c:strCache>
                <c:ptCount val="1"/>
                <c:pt idx="0">
                  <c:v>Ventes</c:v>
                </c:pt>
              </c:strCache>
            </c:strRef>
          </c:tx>
          <c:spPr>
            <a:ln w="28575">
              <a:solidFill>
                <a:schemeClr val="bg1"/>
              </a:solidFill>
            </a:ln>
          </c:spPr>
          <c:dPt>
            <c:idx val="1"/>
            <c:bubble3D val="0"/>
            <c:spPr>
              <a:solidFill>
                <a:schemeClr val="accent5"/>
              </a:solidFill>
              <a:ln w="28575">
                <a:solidFill>
                  <a:schemeClr val="bg1"/>
                </a:solidFill>
              </a:ln>
            </c:spPr>
            <c:extLst>
              <c:ext xmlns:c16="http://schemas.microsoft.com/office/drawing/2014/chart" uri="{C3380CC4-5D6E-409C-BE32-E72D297353CC}">
                <c16:uniqueId val="{00000001-71AC-460B-9E2E-15EF7BF5C486}"/>
              </c:ext>
            </c:extLst>
          </c:dPt>
          <c:dPt>
            <c:idx val="3"/>
            <c:bubble3D val="0"/>
            <c:spPr>
              <a:solidFill>
                <a:schemeClr val="accent2"/>
              </a:solidFill>
              <a:ln w="28575">
                <a:solidFill>
                  <a:schemeClr val="bg1"/>
                </a:solidFill>
              </a:ln>
            </c:spPr>
            <c:extLst>
              <c:ext xmlns:c16="http://schemas.microsoft.com/office/drawing/2014/chart" uri="{C3380CC4-5D6E-409C-BE32-E72D297353CC}">
                <c16:uniqueId val="{00000003-71AC-460B-9E2E-15EF7BF5C486}"/>
              </c:ext>
            </c:extLst>
          </c:dPt>
          <c:dPt>
            <c:idx val="4"/>
            <c:bubble3D val="0"/>
            <c:spPr>
              <a:solidFill>
                <a:schemeClr val="accent2"/>
              </a:solidFill>
              <a:ln w="28575">
                <a:solidFill>
                  <a:schemeClr val="bg1"/>
                </a:solidFill>
              </a:ln>
            </c:spPr>
            <c:extLst>
              <c:ext xmlns:c16="http://schemas.microsoft.com/office/drawing/2014/chart" uri="{C3380CC4-5D6E-409C-BE32-E72D297353CC}">
                <c16:uniqueId val="{00000005-71AC-460B-9E2E-15EF7BF5C486}"/>
              </c:ext>
            </c:extLst>
          </c:dPt>
          <c:cat>
            <c:numRef>
              <c:f>Feuil1!$A$2:$A$6</c:f>
              <c:numCache>
                <c:formatCode>General</c:formatCode>
                <c:ptCount val="5"/>
              </c:numCache>
            </c:numRef>
          </c:cat>
          <c:val>
            <c:numRef>
              <c:f>Feuil1!$B$2:$B$6</c:f>
              <c:numCache>
                <c:formatCode>General</c:formatCode>
                <c:ptCount val="5"/>
                <c:pt idx="0">
                  <c:v>1</c:v>
                </c:pt>
                <c:pt idx="1">
                  <c:v>1</c:v>
                </c:pt>
                <c:pt idx="2">
                  <c:v>1</c:v>
                </c:pt>
                <c:pt idx="3">
                  <c:v>1</c:v>
                </c:pt>
                <c:pt idx="4">
                  <c:v>1</c:v>
                </c:pt>
              </c:numCache>
            </c:numRef>
          </c:val>
          <c:extLst>
            <c:ext xmlns:c16="http://schemas.microsoft.com/office/drawing/2014/chart" uri="{C3380CC4-5D6E-409C-BE32-E72D297353CC}">
              <c16:uniqueId val="{00000006-71AC-460B-9E2E-15EF7BF5C486}"/>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840" b="0" i="0" u="none" strike="noStrike" kern="1200" spc="0" baseline="0">
                <a:solidFill>
                  <a:srgbClr val="44546A"/>
                </a:solidFill>
                <a:latin typeface="+mn-lt"/>
                <a:ea typeface="+mn-ea"/>
                <a:cs typeface="+mn-cs"/>
              </a:defRPr>
            </a:pPr>
            <a:r>
              <a:rPr lang="fr-FR"/>
              <a:t>Evolution des alimentations de DMP en nombre de DMP et de documents à fin février 2023 (hors alimentations SI-DEP)</a:t>
            </a:r>
          </a:p>
        </c:rich>
      </c:tx>
      <c:overlay val="0"/>
      <c:spPr>
        <a:noFill/>
        <a:ln>
          <a:noFill/>
        </a:ln>
        <a:effectLst/>
      </c:spPr>
      <c:txPr>
        <a:bodyPr rot="0" spcFirstLastPara="1" vertOverflow="ellipsis" vert="horz" wrap="square" anchor="ctr" anchorCtr="1"/>
        <a:lstStyle/>
        <a:p>
          <a:pPr>
            <a:defRPr sz="840" b="0" i="0" u="none" strike="noStrike" kern="1200" spc="0" baseline="0">
              <a:solidFill>
                <a:srgbClr val="44546A"/>
              </a:solidFill>
              <a:latin typeface="+mn-lt"/>
              <a:ea typeface="+mn-ea"/>
              <a:cs typeface="+mn-cs"/>
            </a:defRPr>
          </a:pPr>
          <a:endParaRPr lang="en-US"/>
        </a:p>
      </c:txPr>
    </c:title>
    <c:autoTitleDeleted val="0"/>
    <c:plotArea>
      <c:layout/>
      <c:barChart>
        <c:barDir val="col"/>
        <c:grouping val="clustered"/>
        <c:varyColors val="0"/>
        <c:ser>
          <c:idx val="0"/>
          <c:order val="4"/>
          <c:tx>
            <c:v>Nb doc ES</c:v>
          </c:tx>
          <c:spPr>
            <a:solidFill>
              <a:srgbClr val="0062AE">
                <a:alpha val="49804"/>
              </a:srgbClr>
            </a:solidFill>
            <a:ln>
              <a:noFill/>
            </a:ln>
            <a:effectLst/>
          </c:spPr>
          <c:invertIfNegative val="0"/>
          <c:cat>
            <c:numRef>
              <c:f>'[22 04 30_TB_ELT_NAT_49  _ Alimentations DMP mensuelles (hors HR) par catégorie d''activité - nombre de DMP.xlsx]23 02 28_TB_ELT_NAT_49'!$E$14:$E$25</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F$38:$F$48</c:f>
              <c:numCache>
                <c:formatCode>#,##0</c:formatCode>
                <c:ptCount val="11"/>
                <c:pt idx="0">
                  <c:v>636821</c:v>
                </c:pt>
                <c:pt idx="1">
                  <c:v>547043</c:v>
                </c:pt>
                <c:pt idx="2">
                  <c:v>691794</c:v>
                </c:pt>
                <c:pt idx="3">
                  <c:v>1245318</c:v>
                </c:pt>
                <c:pt idx="4">
                  <c:v>1856604</c:v>
                </c:pt>
                <c:pt idx="5">
                  <c:v>1779553</c:v>
                </c:pt>
                <c:pt idx="6">
                  <c:v>2935809</c:v>
                </c:pt>
                <c:pt idx="7">
                  <c:v>3358007</c:v>
                </c:pt>
                <c:pt idx="8">
                  <c:v>2838473</c:v>
                </c:pt>
                <c:pt idx="9">
                  <c:v>3008967</c:v>
                </c:pt>
                <c:pt idx="10">
                  <c:v>3313139</c:v>
                </c:pt>
              </c:numCache>
            </c:numRef>
          </c:val>
          <c:extLst>
            <c:ext xmlns:c16="http://schemas.microsoft.com/office/drawing/2014/chart" uri="{C3380CC4-5D6E-409C-BE32-E72D297353CC}">
              <c16:uniqueId val="{00000000-C48C-4A20-B955-A0AAC4D7CA7B}"/>
            </c:ext>
          </c:extLst>
        </c:ser>
        <c:ser>
          <c:idx val="5"/>
          <c:order val="5"/>
          <c:tx>
            <c:v>Nb doc LBM</c:v>
          </c:tx>
          <c:spPr>
            <a:solidFill>
              <a:srgbClr val="2AB3A6">
                <a:alpha val="49804"/>
              </a:srgbClr>
            </a:solidFill>
            <a:ln>
              <a:noFill/>
            </a:ln>
            <a:effectLst/>
          </c:spPr>
          <c:invertIfNegative val="0"/>
          <c:cat>
            <c:numRef>
              <c:f>'[22 04 30_TB_ELT_NAT_49  _ Alimentations DMP mensuelles (hors HR) par catégorie d''activité - nombre de DMP.xlsx]23 02 28_TB_ELT_NAT_49'!$E$14:$E$25</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F$50:$F$61</c:f>
              <c:numCache>
                <c:formatCode>#,##0</c:formatCode>
                <c:ptCount val="12"/>
                <c:pt idx="0">
                  <c:v>739833</c:v>
                </c:pt>
                <c:pt idx="1">
                  <c:v>657791</c:v>
                </c:pt>
                <c:pt idx="2">
                  <c:v>768125</c:v>
                </c:pt>
                <c:pt idx="3">
                  <c:v>1527532</c:v>
                </c:pt>
                <c:pt idx="4">
                  <c:v>2090843</c:v>
                </c:pt>
                <c:pt idx="5">
                  <c:v>1884717</c:v>
                </c:pt>
                <c:pt idx="6">
                  <c:v>2484797</c:v>
                </c:pt>
                <c:pt idx="7">
                  <c:v>2598473</c:v>
                </c:pt>
                <c:pt idx="8">
                  <c:v>2439021</c:v>
                </c:pt>
                <c:pt idx="9">
                  <c:v>1568809</c:v>
                </c:pt>
                <c:pt idx="10">
                  <c:v>2026240</c:v>
                </c:pt>
                <c:pt idx="11">
                  <c:v>2762784</c:v>
                </c:pt>
              </c:numCache>
            </c:numRef>
          </c:val>
          <c:extLst>
            <c:ext xmlns:c16="http://schemas.microsoft.com/office/drawing/2014/chart" uri="{C3380CC4-5D6E-409C-BE32-E72D297353CC}">
              <c16:uniqueId val="{00000001-C48C-4A20-B955-A0AAC4D7CA7B}"/>
            </c:ext>
          </c:extLst>
        </c:ser>
        <c:ser>
          <c:idx val="6"/>
          <c:order val="6"/>
          <c:tx>
            <c:v>Nb doc PSL</c:v>
          </c:tx>
          <c:spPr>
            <a:solidFill>
              <a:srgbClr val="00A4C6">
                <a:alpha val="49804"/>
              </a:srgbClr>
            </a:solidFill>
            <a:ln>
              <a:noFill/>
            </a:ln>
            <a:effectLst/>
          </c:spPr>
          <c:invertIfNegative val="0"/>
          <c:cat>
            <c:numRef>
              <c:f>'[22 04 30_TB_ELT_NAT_49  _ Alimentations DMP mensuelles (hors HR) par catégorie d''activité - nombre de DMP.xlsx]23 02 28_TB_ELT_NAT_49'!$E$14:$E$25</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F$84:$F$95</c:f>
              <c:numCache>
                <c:formatCode>#,##0</c:formatCode>
                <c:ptCount val="12"/>
                <c:pt idx="0">
                  <c:v>65349</c:v>
                </c:pt>
                <c:pt idx="1">
                  <c:v>54150</c:v>
                </c:pt>
                <c:pt idx="2">
                  <c:v>64141</c:v>
                </c:pt>
                <c:pt idx="3">
                  <c:v>100488</c:v>
                </c:pt>
                <c:pt idx="4">
                  <c:v>106422</c:v>
                </c:pt>
                <c:pt idx="5">
                  <c:v>98711</c:v>
                </c:pt>
                <c:pt idx="6">
                  <c:v>164848</c:v>
                </c:pt>
                <c:pt idx="7">
                  <c:v>199557</c:v>
                </c:pt>
                <c:pt idx="8">
                  <c:v>299839</c:v>
                </c:pt>
                <c:pt idx="9">
                  <c:v>567941</c:v>
                </c:pt>
                <c:pt idx="10">
                  <c:v>1017023</c:v>
                </c:pt>
                <c:pt idx="11">
                  <c:v>1343563</c:v>
                </c:pt>
              </c:numCache>
            </c:numRef>
          </c:val>
          <c:extLst>
            <c:ext xmlns:c16="http://schemas.microsoft.com/office/drawing/2014/chart" uri="{C3380CC4-5D6E-409C-BE32-E72D297353CC}">
              <c16:uniqueId val="{00000002-C48C-4A20-B955-A0AAC4D7CA7B}"/>
            </c:ext>
          </c:extLst>
        </c:ser>
        <c:ser>
          <c:idx val="7"/>
          <c:order val="7"/>
          <c:tx>
            <c:v>Nb doc ESMS</c:v>
          </c:tx>
          <c:spPr>
            <a:solidFill>
              <a:srgbClr val="00B050">
                <a:alpha val="49804"/>
              </a:srgbClr>
            </a:solidFill>
            <a:ln>
              <a:noFill/>
            </a:ln>
            <a:effectLst/>
          </c:spPr>
          <c:invertIfNegative val="0"/>
          <c:cat>
            <c:numRef>
              <c:f>'[22 04 30_TB_ELT_NAT_49  _ Alimentations DMP mensuelles (hors HR) par catégorie d''activité - nombre de DMP.xlsx]23 02 28_TB_ELT_NAT_49'!$E$14:$E$25</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F$26:$F$37</c:f>
              <c:numCache>
                <c:formatCode>#,##0</c:formatCode>
                <c:ptCount val="12"/>
                <c:pt idx="0">
                  <c:v>476398</c:v>
                </c:pt>
                <c:pt idx="1">
                  <c:v>14005</c:v>
                </c:pt>
                <c:pt idx="2">
                  <c:v>3441</c:v>
                </c:pt>
                <c:pt idx="3">
                  <c:v>3804</c:v>
                </c:pt>
                <c:pt idx="4">
                  <c:v>3258</c:v>
                </c:pt>
                <c:pt idx="5">
                  <c:v>8830</c:v>
                </c:pt>
                <c:pt idx="6">
                  <c:v>8099</c:v>
                </c:pt>
                <c:pt idx="7">
                  <c:v>8265</c:v>
                </c:pt>
                <c:pt idx="8">
                  <c:v>10035</c:v>
                </c:pt>
                <c:pt idx="9">
                  <c:v>13806</c:v>
                </c:pt>
                <c:pt idx="10">
                  <c:v>19564</c:v>
                </c:pt>
                <c:pt idx="11">
                  <c:v>26958</c:v>
                </c:pt>
              </c:numCache>
            </c:numRef>
          </c:val>
          <c:extLst>
            <c:ext xmlns:c16="http://schemas.microsoft.com/office/drawing/2014/chart" uri="{C3380CC4-5D6E-409C-BE32-E72D297353CC}">
              <c16:uniqueId val="{00000003-C48C-4A20-B955-A0AAC4D7CA7B}"/>
            </c:ext>
          </c:extLst>
        </c:ser>
        <c:dLbls>
          <c:showLegendKey val="0"/>
          <c:showVal val="0"/>
          <c:showCatName val="0"/>
          <c:showSerName val="0"/>
          <c:showPercent val="0"/>
          <c:showBubbleSize val="0"/>
        </c:dLbls>
        <c:gapWidth val="150"/>
        <c:axId val="180459008"/>
        <c:axId val="180456832"/>
      </c:barChart>
      <c:lineChart>
        <c:grouping val="standard"/>
        <c:varyColors val="0"/>
        <c:ser>
          <c:idx val="1"/>
          <c:order val="0"/>
          <c:tx>
            <c:strRef>
              <c:f>'[22 04 30_TB_ELT_NAT_49  _ Alimentations DMP mensuelles (hors HR) par catégorie d''activité - nombre de DMP.xlsx]23 02 28_TB_ELT_NAT_49'!$A$38</c:f>
              <c:strCache>
                <c:ptCount val="1"/>
                <c:pt idx="0">
                  <c:v>Etablissements sanitaires</c:v>
                </c:pt>
              </c:strCache>
            </c:strRef>
          </c:tx>
          <c:spPr>
            <a:ln w="15875" cap="rnd">
              <a:solidFill>
                <a:srgbClr val="0062AE"/>
              </a:solidFill>
              <a:round/>
            </a:ln>
            <a:effectLst/>
          </c:spPr>
          <c:marker>
            <c:symbol val="none"/>
          </c:marker>
          <c:cat>
            <c:numRef>
              <c:f>'[22 04 30_TB_ELT_NAT_49  _ Alimentations DMP mensuelles (hors HR) par catégorie d''activité - nombre de DMP.xlsx]23 02 28_TB_ELT_NAT_49'!$B$38:$B$49</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C$38:$C$49</c:f>
              <c:numCache>
                <c:formatCode>#,##0</c:formatCode>
                <c:ptCount val="12"/>
                <c:pt idx="0">
                  <c:v>309927</c:v>
                </c:pt>
                <c:pt idx="1">
                  <c:v>280782</c:v>
                </c:pt>
                <c:pt idx="2">
                  <c:v>342775</c:v>
                </c:pt>
                <c:pt idx="3">
                  <c:v>626624</c:v>
                </c:pt>
                <c:pt idx="4">
                  <c:v>909857</c:v>
                </c:pt>
                <c:pt idx="5">
                  <c:v>924989</c:v>
                </c:pt>
                <c:pt idx="6">
                  <c:v>1427778</c:v>
                </c:pt>
                <c:pt idx="7">
                  <c:v>1566287</c:v>
                </c:pt>
                <c:pt idx="8">
                  <c:v>1418573</c:v>
                </c:pt>
                <c:pt idx="9">
                  <c:v>1417037</c:v>
                </c:pt>
                <c:pt idx="10">
                  <c:v>1567160</c:v>
                </c:pt>
                <c:pt idx="11">
                  <c:v>1510718</c:v>
                </c:pt>
              </c:numCache>
            </c:numRef>
          </c:val>
          <c:smooth val="0"/>
          <c:extLst xmlns:c15="http://schemas.microsoft.com/office/drawing/2012/chart">
            <c:ext xmlns:c16="http://schemas.microsoft.com/office/drawing/2014/chart" uri="{C3380CC4-5D6E-409C-BE32-E72D297353CC}">
              <c16:uniqueId val="{00000004-C48C-4A20-B955-A0AAC4D7CA7B}"/>
            </c:ext>
          </c:extLst>
        </c:ser>
        <c:ser>
          <c:idx val="2"/>
          <c:order val="1"/>
          <c:tx>
            <c:strRef>
              <c:f>'[22 04 30_TB_ELT_NAT_49  _ Alimentations DMP mensuelles (hors HR) par catégorie d''activité - nombre de DMP.xlsx]23 02 28_TB_ELT_NAT_49'!$A$50</c:f>
              <c:strCache>
                <c:ptCount val="1"/>
                <c:pt idx="0">
                  <c:v>Laboratoire de biologie</c:v>
                </c:pt>
              </c:strCache>
            </c:strRef>
          </c:tx>
          <c:spPr>
            <a:ln w="15875" cap="rnd">
              <a:solidFill>
                <a:srgbClr val="2AB3A6"/>
              </a:solidFill>
              <a:round/>
            </a:ln>
            <a:effectLst/>
          </c:spPr>
          <c:marker>
            <c:symbol val="none"/>
          </c:marker>
          <c:cat>
            <c:numRef>
              <c:f>'[22 04 30_TB_ELT_NAT_49  _ Alimentations DMP mensuelles (hors HR) par catégorie d''activité - nombre de DMP.xlsx]23 02 28_TB_ELT_NAT_49'!$B$38:$B$49</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C$50:$C$61</c:f>
              <c:numCache>
                <c:formatCode>#,##0</c:formatCode>
                <c:ptCount val="12"/>
                <c:pt idx="0">
                  <c:v>505081</c:v>
                </c:pt>
                <c:pt idx="1">
                  <c:v>466847</c:v>
                </c:pt>
                <c:pt idx="2">
                  <c:v>541714</c:v>
                </c:pt>
                <c:pt idx="3">
                  <c:v>1078539</c:v>
                </c:pt>
                <c:pt idx="4">
                  <c:v>1487441</c:v>
                </c:pt>
                <c:pt idx="5">
                  <c:v>1318896</c:v>
                </c:pt>
                <c:pt idx="6">
                  <c:v>1731402</c:v>
                </c:pt>
                <c:pt idx="7">
                  <c:v>1790454</c:v>
                </c:pt>
                <c:pt idx="8">
                  <c:v>1679288</c:v>
                </c:pt>
                <c:pt idx="9">
                  <c:v>1087737</c:v>
                </c:pt>
                <c:pt idx="10">
                  <c:v>1099665</c:v>
                </c:pt>
                <c:pt idx="11">
                  <c:v>1398397</c:v>
                </c:pt>
              </c:numCache>
            </c:numRef>
          </c:val>
          <c:smooth val="0"/>
          <c:extLst xmlns:c15="http://schemas.microsoft.com/office/drawing/2012/chart">
            <c:ext xmlns:c16="http://schemas.microsoft.com/office/drawing/2014/chart" uri="{C3380CC4-5D6E-409C-BE32-E72D297353CC}">
              <c16:uniqueId val="{00000005-C48C-4A20-B955-A0AAC4D7CA7B}"/>
            </c:ext>
          </c:extLst>
        </c:ser>
        <c:ser>
          <c:idx val="3"/>
          <c:order val="2"/>
          <c:tx>
            <c:strRef>
              <c:f>'[22 04 30_TB_ELT_NAT_49  _ Alimentations DMP mensuelles (hors HR) par catégorie d''activité - nombre de DMP.xlsx]23 02 28_TB_ELT_NAT_49'!$A$84</c:f>
              <c:strCache>
                <c:ptCount val="1"/>
                <c:pt idx="0">
                  <c:v>Professionnels libéraux</c:v>
                </c:pt>
              </c:strCache>
            </c:strRef>
          </c:tx>
          <c:spPr>
            <a:ln w="15875" cap="rnd">
              <a:solidFill>
                <a:srgbClr val="00A4C6"/>
              </a:solidFill>
              <a:round/>
            </a:ln>
            <a:effectLst/>
          </c:spPr>
          <c:marker>
            <c:symbol val="none"/>
          </c:marker>
          <c:cat>
            <c:numRef>
              <c:f>'[22 04 30_TB_ELT_NAT_49  _ Alimentations DMP mensuelles (hors HR) par catégorie d''activité - nombre de DMP.xlsx]23 02 28_TB_ELT_NAT_49'!$B$38:$B$49</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C$84:$C$95</c:f>
              <c:numCache>
                <c:formatCode>#,##0</c:formatCode>
                <c:ptCount val="12"/>
                <c:pt idx="0">
                  <c:v>43537</c:v>
                </c:pt>
                <c:pt idx="1">
                  <c:v>35770</c:v>
                </c:pt>
                <c:pt idx="2">
                  <c:v>41761</c:v>
                </c:pt>
                <c:pt idx="3">
                  <c:v>65087</c:v>
                </c:pt>
                <c:pt idx="4">
                  <c:v>73842</c:v>
                </c:pt>
                <c:pt idx="5">
                  <c:v>70789</c:v>
                </c:pt>
                <c:pt idx="6">
                  <c:v>119461</c:v>
                </c:pt>
                <c:pt idx="7">
                  <c:v>147267</c:v>
                </c:pt>
                <c:pt idx="8">
                  <c:v>216081</c:v>
                </c:pt>
                <c:pt idx="9">
                  <c:v>416262</c:v>
                </c:pt>
                <c:pt idx="10">
                  <c:v>692066</c:v>
                </c:pt>
                <c:pt idx="11">
                  <c:v>847728</c:v>
                </c:pt>
              </c:numCache>
            </c:numRef>
          </c:val>
          <c:smooth val="0"/>
          <c:extLst xmlns:c15="http://schemas.microsoft.com/office/drawing/2012/chart">
            <c:ext xmlns:c16="http://schemas.microsoft.com/office/drawing/2014/chart" uri="{C3380CC4-5D6E-409C-BE32-E72D297353CC}">
              <c16:uniqueId val="{00000006-C48C-4A20-B955-A0AAC4D7CA7B}"/>
            </c:ext>
          </c:extLst>
        </c:ser>
        <c:ser>
          <c:idx val="4"/>
          <c:order val="3"/>
          <c:tx>
            <c:strRef>
              <c:f>'[22 04 30_TB_ELT_NAT_49  _ Alimentations DMP mensuelles (hors HR) par catégorie d''activité - nombre de DMP.xlsx]23 02 28_TB_ELT_NAT_49'!$A$26</c:f>
              <c:strCache>
                <c:ptCount val="1"/>
                <c:pt idx="0">
                  <c:v>Etablissements médico-sociaux</c:v>
                </c:pt>
              </c:strCache>
            </c:strRef>
          </c:tx>
          <c:spPr>
            <a:ln w="15875" cap="rnd">
              <a:solidFill>
                <a:srgbClr val="00B050"/>
              </a:solidFill>
              <a:round/>
            </a:ln>
            <a:effectLst/>
          </c:spPr>
          <c:marker>
            <c:symbol val="none"/>
          </c:marker>
          <c:cat>
            <c:numRef>
              <c:f>'[22 04 30_TB_ELT_NAT_49  _ Alimentations DMP mensuelles (hors HR) par catégorie d''activité - nombre de DMP.xlsx]23 02 28_TB_ELT_NAT_49'!$B$38:$B$49</c:f>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f>'[22 04 30_TB_ELT_NAT_49  _ Alimentations DMP mensuelles (hors HR) par catégorie d''activité - nombre de DMP.xlsx]23 02 28_TB_ELT_NAT_49'!$C$26:$C$37</c:f>
              <c:numCache>
                <c:formatCode>#,##0</c:formatCode>
                <c:ptCount val="12"/>
                <c:pt idx="0">
                  <c:v>17704</c:v>
                </c:pt>
                <c:pt idx="1">
                  <c:v>5068</c:v>
                </c:pt>
                <c:pt idx="2">
                  <c:v>2262</c:v>
                </c:pt>
                <c:pt idx="3">
                  <c:v>2047</c:v>
                </c:pt>
                <c:pt idx="4">
                  <c:v>1236</c:v>
                </c:pt>
                <c:pt idx="5">
                  <c:v>3464</c:v>
                </c:pt>
                <c:pt idx="6">
                  <c:v>1518</c:v>
                </c:pt>
                <c:pt idx="7">
                  <c:v>1964</c:v>
                </c:pt>
                <c:pt idx="8">
                  <c:v>2874</c:v>
                </c:pt>
                <c:pt idx="9">
                  <c:v>3775</c:v>
                </c:pt>
                <c:pt idx="10">
                  <c:v>5000</c:v>
                </c:pt>
                <c:pt idx="11">
                  <c:v>6949</c:v>
                </c:pt>
              </c:numCache>
            </c:numRef>
          </c:val>
          <c:smooth val="0"/>
          <c:extLst xmlns:c15="http://schemas.microsoft.com/office/drawing/2012/chart">
            <c:ext xmlns:c16="http://schemas.microsoft.com/office/drawing/2014/chart" uri="{C3380CC4-5D6E-409C-BE32-E72D297353CC}">
              <c16:uniqueId val="{00000007-C48C-4A20-B955-A0AAC4D7CA7B}"/>
            </c:ext>
          </c:extLst>
        </c:ser>
        <c:dLbls>
          <c:showLegendKey val="0"/>
          <c:showVal val="0"/>
          <c:showCatName val="0"/>
          <c:showSerName val="0"/>
          <c:showPercent val="0"/>
          <c:showBubbleSize val="0"/>
        </c:dLbls>
        <c:marker val="1"/>
        <c:smooth val="0"/>
        <c:axId val="180453376"/>
        <c:axId val="180454912"/>
        <c:extLst>
          <c:ext xmlns:c15="http://schemas.microsoft.com/office/drawing/2012/chart" uri="{02D57815-91ED-43cb-92C2-25804820EDAC}">
            <c15:filteredLineSeries>
              <c15:ser>
                <c:idx val="8"/>
                <c:order val="8"/>
                <c:tx>
                  <c:v>Alimentations DMP hors HR</c:v>
                </c:tx>
                <c:spPr>
                  <a:ln w="28575" cap="rnd">
                    <a:solidFill>
                      <a:schemeClr val="accent3">
                        <a:lumMod val="60000"/>
                      </a:schemeClr>
                    </a:solidFill>
                    <a:round/>
                  </a:ln>
                  <a:effectLst/>
                </c:spPr>
                <c:marker>
                  <c:symbol val="none"/>
                </c:marker>
                <c:cat>
                  <c:numRef>
                    <c:extLst>
                      <c:ext uri="{02D57815-91ED-43cb-92C2-25804820EDAC}">
                        <c15:formulaRef>
                          <c15:sqref>'[22 04 30_TB_ELT_NAT_49  _ Alimentations DMP mensuelles (hors HR) par catégorie d''activité - nombre de DMP.xlsx]23 02 28_TB_ELT_NAT_49'!$B$38:$B$49</c15:sqref>
                        </c15:formulaRef>
                      </c:ext>
                    </c:extLst>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extLst>
                      <c:ext uri="{02D57815-91ED-43cb-92C2-25804820EDAC}">
                        <c15:formulaRef>
                          <c15:sqref>'[22 04 30_TB_ELT_NAT_49  _ Alimentations DMP mensuelles (hors HR) par catégorie d''activité - nombre de DMP.xlsx]23 02 28_TB_ELT_NAT_49'!$C$2:$C$13</c15:sqref>
                        </c15:formulaRef>
                      </c:ext>
                    </c:extLst>
                    <c:numCache>
                      <c:formatCode>General</c:formatCode>
                      <c:ptCount val="12"/>
                      <c:pt idx="0">
                        <c:v>512</c:v>
                      </c:pt>
                      <c:pt idx="1">
                        <c:v>470</c:v>
                      </c:pt>
                      <c:pt idx="2">
                        <c:v>532</c:v>
                      </c:pt>
                      <c:pt idx="3">
                        <c:v>774</c:v>
                      </c:pt>
                      <c:pt idx="4">
                        <c:v>858</c:v>
                      </c:pt>
                      <c:pt idx="5">
                        <c:v>817</c:v>
                      </c:pt>
                      <c:pt idx="6" formatCode="#,##0">
                        <c:v>1009</c:v>
                      </c:pt>
                      <c:pt idx="7" formatCode="#,##0">
                        <c:v>1025</c:v>
                      </c:pt>
                      <c:pt idx="8" formatCode="#,##0">
                        <c:v>1024</c:v>
                      </c:pt>
                      <c:pt idx="9" formatCode="#,##0">
                        <c:v>1027</c:v>
                      </c:pt>
                      <c:pt idx="10" formatCode="#,##0">
                        <c:v>1290</c:v>
                      </c:pt>
                      <c:pt idx="11" formatCode="#,##0">
                        <c:v>1154</c:v>
                      </c:pt>
                    </c:numCache>
                  </c:numRef>
                </c:val>
                <c:smooth val="0"/>
                <c:extLst>
                  <c:ext xmlns:c16="http://schemas.microsoft.com/office/drawing/2014/chart" uri="{C3380CC4-5D6E-409C-BE32-E72D297353CC}">
                    <c16:uniqueId val="{00000008-C48C-4A20-B955-A0AAC4D7CA7B}"/>
                  </c:ext>
                </c:extLst>
              </c15:ser>
            </c15:filteredLineSeries>
            <c15:filteredLineSeries>
              <c15:ser>
                <c:idx val="9"/>
                <c:order val="9"/>
                <c:tx>
                  <c:v>Alimentation documents hors HR</c:v>
                </c:tx>
                <c:spPr>
                  <a:ln w="28575"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22 04 30_TB_ELT_NAT_49  _ Alimentations DMP mensuelles (hors HR) par catégorie d''activité - nombre de DMP.xlsx]23 02 28_TB_ELT_NAT_49'!$B$38:$B$49</c15:sqref>
                        </c15:formulaRef>
                      </c:ext>
                    </c:extLst>
                    <c:numCache>
                      <c:formatCode>m/d/yyyy</c:formatCode>
                      <c:ptCount val="12"/>
                      <c:pt idx="0">
                        <c:v>44621</c:v>
                      </c:pt>
                      <c:pt idx="1">
                        <c:v>44652</c:v>
                      </c:pt>
                      <c:pt idx="2">
                        <c:v>44682</c:v>
                      </c:pt>
                      <c:pt idx="3">
                        <c:v>44713</c:v>
                      </c:pt>
                      <c:pt idx="4">
                        <c:v>44743</c:v>
                      </c:pt>
                      <c:pt idx="5">
                        <c:v>44774</c:v>
                      </c:pt>
                      <c:pt idx="6">
                        <c:v>44805</c:v>
                      </c:pt>
                      <c:pt idx="7">
                        <c:v>44835</c:v>
                      </c:pt>
                      <c:pt idx="8">
                        <c:v>44866</c:v>
                      </c:pt>
                      <c:pt idx="9">
                        <c:v>44896</c:v>
                      </c:pt>
                      <c:pt idx="10">
                        <c:v>44927</c:v>
                      </c:pt>
                      <c:pt idx="11">
                        <c:v>44958</c:v>
                      </c:pt>
                    </c:numCache>
                  </c:numRef>
                </c:cat>
                <c:val>
                  <c:numRef>
                    <c:extLst xmlns:c15="http://schemas.microsoft.com/office/drawing/2012/chart">
                      <c:ext xmlns:c15="http://schemas.microsoft.com/office/drawing/2012/chart" uri="{02D57815-91ED-43cb-92C2-25804820EDAC}">
                        <c15:formulaRef>
                          <c15:sqref>'[22 04 30_TB_ELT_NAT_49  _ Alimentations DMP mensuelles (hors HR) par catégorie d''activité - nombre de DMP.xlsx]23 02 28_TB_ELT_NAT_49'!$F$2:$F$13</c15:sqref>
                        </c15:formulaRef>
                      </c:ext>
                    </c:extLst>
                    <c:numCache>
                      <c:formatCode>General</c:formatCode>
                      <c:ptCount val="12"/>
                      <c:pt idx="0">
                        <c:v>629</c:v>
                      </c:pt>
                      <c:pt idx="1">
                        <c:v>570</c:v>
                      </c:pt>
                      <c:pt idx="2">
                        <c:v>695</c:v>
                      </c:pt>
                      <c:pt idx="3">
                        <c:v>909</c:v>
                      </c:pt>
                      <c:pt idx="4">
                        <c:v>963</c:v>
                      </c:pt>
                      <c:pt idx="5">
                        <c:v>918</c:v>
                      </c:pt>
                      <c:pt idx="6" formatCode="#,##0">
                        <c:v>1146</c:v>
                      </c:pt>
                      <c:pt idx="7" formatCode="#,##0">
                        <c:v>1157</c:v>
                      </c:pt>
                      <c:pt idx="8" formatCode="#,##0">
                        <c:v>1163</c:v>
                      </c:pt>
                      <c:pt idx="9" formatCode="#,##0">
                        <c:v>1173</c:v>
                      </c:pt>
                      <c:pt idx="10" formatCode="#,##0">
                        <c:v>1577</c:v>
                      </c:pt>
                      <c:pt idx="11" formatCode="#,##0">
                        <c:v>1411</c:v>
                      </c:pt>
                    </c:numCache>
                  </c:numRef>
                </c:val>
                <c:smooth val="0"/>
                <c:extLst xmlns:c15="http://schemas.microsoft.com/office/drawing/2012/chart">
                  <c:ext xmlns:c16="http://schemas.microsoft.com/office/drawing/2014/chart" uri="{C3380CC4-5D6E-409C-BE32-E72D297353CC}">
                    <c16:uniqueId val="{00000009-C48C-4A20-B955-A0AAC4D7CA7B}"/>
                  </c:ext>
                </c:extLst>
              </c15:ser>
            </c15:filteredLineSeries>
          </c:ext>
        </c:extLst>
      </c:lineChart>
      <c:dateAx>
        <c:axId val="180453376"/>
        <c:scaling>
          <c:orientation val="minMax"/>
        </c:scaling>
        <c:delete val="0"/>
        <c:axPos val="b"/>
        <c:numFmt formatCode="[$-40C]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44546A"/>
                </a:solidFill>
                <a:latin typeface="+mn-lt"/>
                <a:ea typeface="+mn-ea"/>
                <a:cs typeface="+mn-cs"/>
              </a:defRPr>
            </a:pPr>
            <a:endParaRPr lang="en-US"/>
          </a:p>
        </c:txPr>
        <c:crossAx val="180454912"/>
        <c:crosses val="autoZero"/>
        <c:auto val="1"/>
        <c:lblOffset val="100"/>
        <c:baseTimeUnit val="months"/>
      </c:dateAx>
      <c:valAx>
        <c:axId val="180454912"/>
        <c:scaling>
          <c:orientation val="minMax"/>
          <c:max val="18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rgbClr val="44546A"/>
                    </a:solidFill>
                    <a:latin typeface="+mn-lt"/>
                    <a:ea typeface="+mn-ea"/>
                    <a:cs typeface="+mn-cs"/>
                  </a:defRPr>
                </a:pPr>
                <a:r>
                  <a:rPr lang="fr-FR"/>
                  <a:t>Nombre de DMP alimentés (lignes)</a:t>
                </a:r>
              </a:p>
            </c:rich>
          </c:tx>
          <c:layout>
            <c:manualLayout>
              <c:xMode val="edge"/>
              <c:yMode val="edge"/>
              <c:x val="1.0171896559862779E-2"/>
              <c:y val="0.2684197778686509"/>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rgbClr val="44546A"/>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44546A"/>
                </a:solidFill>
                <a:latin typeface="+mn-lt"/>
                <a:ea typeface="+mn-ea"/>
                <a:cs typeface="+mn-cs"/>
              </a:defRPr>
            </a:pPr>
            <a:endParaRPr lang="en-US"/>
          </a:p>
        </c:txPr>
        <c:crossAx val="180453376"/>
        <c:crosses val="autoZero"/>
        <c:crossBetween val="between"/>
      </c:valAx>
      <c:valAx>
        <c:axId val="180456832"/>
        <c:scaling>
          <c:orientation val="minMax"/>
          <c:max val="3500000"/>
          <c:min val="0"/>
        </c:scaling>
        <c:delete val="0"/>
        <c:axPos val="r"/>
        <c:title>
          <c:tx>
            <c:rich>
              <a:bodyPr rot="-5400000" spcFirstLastPara="1" vertOverflow="ellipsis" vert="horz" wrap="square" anchor="ctr" anchorCtr="1"/>
              <a:lstStyle/>
              <a:p>
                <a:pPr>
                  <a:defRPr sz="700" b="0" i="0" u="none" strike="noStrike" kern="1200" baseline="0">
                    <a:solidFill>
                      <a:srgbClr val="44546A"/>
                    </a:solidFill>
                    <a:latin typeface="+mn-lt"/>
                    <a:ea typeface="+mn-ea"/>
                    <a:cs typeface="+mn-cs"/>
                  </a:defRPr>
                </a:pPr>
                <a:r>
                  <a:rPr lang="fr-FR"/>
                  <a:t>Nombre de documents alimentés (histogramme)</a:t>
                </a:r>
              </a:p>
            </c:rich>
          </c:tx>
          <c:layout>
            <c:manualLayout>
              <c:xMode val="edge"/>
              <c:yMode val="edge"/>
              <c:x val="0.9723861781569183"/>
              <c:y val="0.20400205040591307"/>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rgbClr val="44546A"/>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44546A"/>
                </a:solidFill>
                <a:latin typeface="+mn-lt"/>
                <a:ea typeface="+mn-ea"/>
                <a:cs typeface="+mn-cs"/>
              </a:defRPr>
            </a:pPr>
            <a:endParaRPr lang="en-US"/>
          </a:p>
        </c:txPr>
        <c:crossAx val="180459008"/>
        <c:crosses val="max"/>
        <c:crossBetween val="between"/>
      </c:valAx>
      <c:dateAx>
        <c:axId val="180459008"/>
        <c:scaling>
          <c:orientation val="minMax"/>
        </c:scaling>
        <c:delete val="1"/>
        <c:axPos val="b"/>
        <c:numFmt formatCode="m/d/yyyy" sourceLinked="1"/>
        <c:majorTickMark val="out"/>
        <c:minorTickMark val="none"/>
        <c:tickLblPos val="nextTo"/>
        <c:crossAx val="180456832"/>
        <c:crosses val="autoZero"/>
        <c:auto val="1"/>
        <c:lblOffset val="100"/>
        <c:baseTimeUnit val="month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00">
          <a:solidFill>
            <a:srgbClr val="44546A"/>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6D562AA-F83E-4E16-A27F-1F15BBD6E822}" type="doc">
      <dgm:prSet loTypeId="urn:microsoft.com/office/officeart/2005/8/layout/cycle1" loCatId="cycle" qsTypeId="urn:microsoft.com/office/officeart/2005/8/quickstyle/simple1" qsCatId="simple" csTypeId="urn:microsoft.com/office/officeart/2005/8/colors/accent5_2" csCatId="accent5" phldr="1"/>
      <dgm:spPr/>
      <dgm:t>
        <a:bodyPr/>
        <a:lstStyle/>
        <a:p>
          <a:endParaRPr lang="fr-FR"/>
        </a:p>
      </dgm:t>
    </dgm:pt>
    <dgm:pt modelId="{AE61E61B-5C68-4F82-850F-2CE3E03B500B}">
      <dgm:prSet phldrT="[Texte]"/>
      <dgm:spPr>
        <a:xfrm>
          <a:off x="2689412" y="159088"/>
          <a:ext cx="815082" cy="815082"/>
        </a:xfrm>
        <a:prstGeom prst="rect">
          <a:avLst/>
        </a:prstGeom>
        <a:noFill/>
        <a:ln>
          <a:noFill/>
        </a:ln>
        <a:effectLst/>
      </dgm:spPr>
      <dgm:t>
        <a:bodyPr/>
        <a:lstStyle/>
        <a:p>
          <a:pPr>
            <a:buNone/>
          </a:pPr>
          <a:r>
            <a:rPr lang="fr-FR" i="1">
              <a:solidFill>
                <a:srgbClr val="545859"/>
              </a:solidFill>
              <a:latin typeface="Arial" panose="020B0604020202020204"/>
              <a:ea typeface="+mn-ea"/>
              <a:cs typeface="+mn-cs"/>
            </a:rPr>
            <a:t>Les DMP ne sont pas créés parce qu’ils ne sont pas consultés</a:t>
          </a:r>
          <a:endParaRPr lang="fr-FR">
            <a:solidFill>
              <a:srgbClr val="545859"/>
            </a:solidFill>
            <a:latin typeface="Arial" panose="020B0604020202020204"/>
            <a:ea typeface="+mn-ea"/>
            <a:cs typeface="+mn-cs"/>
          </a:endParaRPr>
        </a:p>
      </dgm:t>
    </dgm:pt>
    <dgm:pt modelId="{5D6ABBFC-9B41-4320-9F16-08AF59BE8FA7}" type="parTrans" cxnId="{F1179E6C-E5BA-425B-A9DC-888B131D9AE1}">
      <dgm:prSet/>
      <dgm:spPr/>
      <dgm:t>
        <a:bodyPr/>
        <a:lstStyle/>
        <a:p>
          <a:endParaRPr lang="fr-FR">
            <a:solidFill>
              <a:schemeClr val="bg2"/>
            </a:solidFill>
          </a:endParaRPr>
        </a:p>
      </dgm:t>
    </dgm:pt>
    <dgm:pt modelId="{0BE5E463-BECE-4224-9113-371FF514353A}" type="sibTrans" cxnId="{F1179E6C-E5BA-425B-A9DC-888B131D9AE1}">
      <dgm:prSet/>
      <dgm:spPr>
        <a:xfrm>
          <a:off x="1449474" y="-860"/>
          <a:ext cx="1925586" cy="1925586"/>
        </a:xfrm>
        <a:prstGeom prst="circularArrow">
          <a:avLst>
            <a:gd name="adj1" fmla="val 8254"/>
            <a:gd name="adj2" fmla="val 576604"/>
            <a:gd name="adj3" fmla="val 2961627"/>
            <a:gd name="adj4" fmla="val 53215"/>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DD302E5C-D5E4-4221-9D0D-E4A8B0EE5269}">
      <dgm:prSet phldrT="[Texte]"/>
      <dgm:spPr>
        <a:xfrm>
          <a:off x="2004726" y="1344998"/>
          <a:ext cx="815082" cy="815082"/>
        </a:xfrm>
        <a:prstGeom prst="rect">
          <a:avLst/>
        </a:prstGeom>
        <a:noFill/>
        <a:ln>
          <a:noFill/>
        </a:ln>
        <a:effectLst/>
      </dgm:spPr>
      <dgm:t>
        <a:bodyPr/>
        <a:lstStyle/>
        <a:p>
          <a:pPr>
            <a:buNone/>
          </a:pPr>
          <a:r>
            <a:rPr lang="fr-FR" i="1">
              <a:solidFill>
                <a:srgbClr val="545859"/>
              </a:solidFill>
              <a:latin typeface="Arial" panose="020B0604020202020204"/>
              <a:ea typeface="+mn-ea"/>
              <a:cs typeface="+mn-cs"/>
            </a:rPr>
            <a:t>Les DMP ne sont pas consultés parce qu’ils ne sont pas alimentés</a:t>
          </a:r>
          <a:endParaRPr lang="fr-FR">
            <a:solidFill>
              <a:srgbClr val="545859"/>
            </a:solidFill>
            <a:latin typeface="Arial" panose="020B0604020202020204"/>
            <a:ea typeface="+mn-ea"/>
            <a:cs typeface="+mn-cs"/>
          </a:endParaRPr>
        </a:p>
      </dgm:t>
    </dgm:pt>
    <dgm:pt modelId="{16630B0E-2C9D-4DE3-A47C-E2AA4ECCDDF4}" type="parTrans" cxnId="{109C6E42-5212-4E26-98B1-C1D96CCA8789}">
      <dgm:prSet/>
      <dgm:spPr/>
      <dgm:t>
        <a:bodyPr/>
        <a:lstStyle/>
        <a:p>
          <a:endParaRPr lang="fr-FR">
            <a:solidFill>
              <a:schemeClr val="bg2"/>
            </a:solidFill>
          </a:endParaRPr>
        </a:p>
      </dgm:t>
    </dgm:pt>
    <dgm:pt modelId="{1A3FD7FB-FBEB-45A7-9DE8-E8C6EC229EBD}" type="sibTrans" cxnId="{109C6E42-5212-4E26-98B1-C1D96CCA8789}">
      <dgm:prSet/>
      <dgm:spPr>
        <a:xfrm>
          <a:off x="1449474" y="-860"/>
          <a:ext cx="1925586" cy="1925586"/>
        </a:xfrm>
        <a:prstGeom prst="circularArrow">
          <a:avLst>
            <a:gd name="adj1" fmla="val 8254"/>
            <a:gd name="adj2" fmla="val 576604"/>
            <a:gd name="adj3" fmla="val 10170181"/>
            <a:gd name="adj4" fmla="val 7261769"/>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6178F4F7-B8E3-48CF-97DE-3265E3D32AA5}">
      <dgm:prSet phldrT="[Texte]"/>
      <dgm:spPr>
        <a:xfrm>
          <a:off x="1320040" y="159088"/>
          <a:ext cx="815082" cy="815082"/>
        </a:xfrm>
        <a:prstGeom prst="rect">
          <a:avLst/>
        </a:prstGeom>
        <a:noFill/>
        <a:ln>
          <a:noFill/>
        </a:ln>
        <a:effectLst/>
      </dgm:spPr>
      <dgm:t>
        <a:bodyPr/>
        <a:lstStyle/>
        <a:p>
          <a:pPr>
            <a:buNone/>
          </a:pPr>
          <a:r>
            <a:rPr lang="fr-FR" i="1">
              <a:solidFill>
                <a:srgbClr val="545859"/>
              </a:solidFill>
              <a:latin typeface="Arial" panose="020B0604020202020204"/>
              <a:ea typeface="+mn-ea"/>
              <a:cs typeface="+mn-cs"/>
            </a:rPr>
            <a:t>Les DMP ne sont pas alimentés parce qu’ils ne sont pas créés.</a:t>
          </a:r>
          <a:endParaRPr lang="fr-FR">
            <a:solidFill>
              <a:srgbClr val="545859"/>
            </a:solidFill>
            <a:latin typeface="Arial" panose="020B0604020202020204"/>
            <a:ea typeface="+mn-ea"/>
            <a:cs typeface="+mn-cs"/>
          </a:endParaRPr>
        </a:p>
      </dgm:t>
    </dgm:pt>
    <dgm:pt modelId="{439C6D97-3D3C-4418-B84A-5DB0DAAF7365}" type="parTrans" cxnId="{5E10CFB4-8EC7-4D53-BA1A-562DCC8C24B7}">
      <dgm:prSet/>
      <dgm:spPr/>
      <dgm:t>
        <a:bodyPr/>
        <a:lstStyle/>
        <a:p>
          <a:endParaRPr lang="fr-FR">
            <a:solidFill>
              <a:schemeClr val="bg2"/>
            </a:solidFill>
          </a:endParaRPr>
        </a:p>
      </dgm:t>
    </dgm:pt>
    <dgm:pt modelId="{F956D7DA-3472-48C6-BADC-72339D1C61DB}" type="sibTrans" cxnId="{5E10CFB4-8EC7-4D53-BA1A-562DCC8C24B7}">
      <dgm:prSet/>
      <dgm:spPr>
        <a:xfrm>
          <a:off x="1449474" y="-860"/>
          <a:ext cx="1925586" cy="1925586"/>
        </a:xfrm>
        <a:prstGeom prst="circularArrow">
          <a:avLst>
            <a:gd name="adj1" fmla="val 8254"/>
            <a:gd name="adj2" fmla="val 576604"/>
            <a:gd name="adj3" fmla="val 16854640"/>
            <a:gd name="adj4" fmla="val 14968756"/>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endParaRPr lang="fr-FR">
            <a:solidFill>
              <a:schemeClr val="bg2"/>
            </a:solidFill>
          </a:endParaRPr>
        </a:p>
      </dgm:t>
    </dgm:pt>
    <dgm:pt modelId="{3CF06A63-AB5F-43FD-86D4-26F814E99BA6}" type="pres">
      <dgm:prSet presAssocID="{66D562AA-F83E-4E16-A27F-1F15BBD6E822}" presName="cycle" presStyleCnt="0">
        <dgm:presLayoutVars>
          <dgm:dir/>
          <dgm:resizeHandles val="exact"/>
        </dgm:presLayoutVars>
      </dgm:prSet>
      <dgm:spPr/>
    </dgm:pt>
    <dgm:pt modelId="{B26FBA14-D99B-4A4C-BDBB-3DA11B266299}" type="pres">
      <dgm:prSet presAssocID="{AE61E61B-5C68-4F82-850F-2CE3E03B500B}" presName="dummy" presStyleCnt="0"/>
      <dgm:spPr/>
    </dgm:pt>
    <dgm:pt modelId="{F49AB138-729E-4330-807F-182FFE124367}" type="pres">
      <dgm:prSet presAssocID="{AE61E61B-5C68-4F82-850F-2CE3E03B500B}" presName="node" presStyleLbl="revTx" presStyleIdx="0" presStyleCnt="3">
        <dgm:presLayoutVars>
          <dgm:bulletEnabled val="1"/>
        </dgm:presLayoutVars>
      </dgm:prSet>
      <dgm:spPr/>
    </dgm:pt>
    <dgm:pt modelId="{870A8AC6-C887-4029-9C68-C9C4CDAABC20}" type="pres">
      <dgm:prSet presAssocID="{0BE5E463-BECE-4224-9113-371FF514353A}" presName="sibTrans" presStyleLbl="node1" presStyleIdx="0" presStyleCnt="3"/>
      <dgm:spPr/>
    </dgm:pt>
    <dgm:pt modelId="{287094EF-799B-44E4-B0D6-14F878EF79E3}" type="pres">
      <dgm:prSet presAssocID="{DD302E5C-D5E4-4221-9D0D-E4A8B0EE5269}" presName="dummy" presStyleCnt="0"/>
      <dgm:spPr/>
    </dgm:pt>
    <dgm:pt modelId="{93C85E84-69DD-4D71-8920-EC0CB446125E}" type="pres">
      <dgm:prSet presAssocID="{DD302E5C-D5E4-4221-9D0D-E4A8B0EE5269}" presName="node" presStyleLbl="revTx" presStyleIdx="1" presStyleCnt="3">
        <dgm:presLayoutVars>
          <dgm:bulletEnabled val="1"/>
        </dgm:presLayoutVars>
      </dgm:prSet>
      <dgm:spPr/>
    </dgm:pt>
    <dgm:pt modelId="{0189113B-6517-4A0B-822E-4D8BF4691912}" type="pres">
      <dgm:prSet presAssocID="{1A3FD7FB-FBEB-45A7-9DE8-E8C6EC229EBD}" presName="sibTrans" presStyleLbl="node1" presStyleIdx="1" presStyleCnt="3"/>
      <dgm:spPr/>
    </dgm:pt>
    <dgm:pt modelId="{6D56BE5A-C9B9-4ECC-8875-4D9DA2602437}" type="pres">
      <dgm:prSet presAssocID="{6178F4F7-B8E3-48CF-97DE-3265E3D32AA5}" presName="dummy" presStyleCnt="0"/>
      <dgm:spPr/>
    </dgm:pt>
    <dgm:pt modelId="{BCDE1182-4698-411C-98D5-DBA12F7B680D}" type="pres">
      <dgm:prSet presAssocID="{6178F4F7-B8E3-48CF-97DE-3265E3D32AA5}" presName="node" presStyleLbl="revTx" presStyleIdx="2" presStyleCnt="3">
        <dgm:presLayoutVars>
          <dgm:bulletEnabled val="1"/>
        </dgm:presLayoutVars>
      </dgm:prSet>
      <dgm:spPr/>
    </dgm:pt>
    <dgm:pt modelId="{9807B164-E649-47E0-8025-790937EA7B8B}" type="pres">
      <dgm:prSet presAssocID="{F956D7DA-3472-48C6-BADC-72339D1C61DB}" presName="sibTrans" presStyleLbl="node1" presStyleIdx="2" presStyleCnt="3"/>
      <dgm:spPr/>
    </dgm:pt>
  </dgm:ptLst>
  <dgm:cxnLst>
    <dgm:cxn modelId="{04D8580E-110F-4548-8764-A9F256246291}" type="presOf" srcId="{1A3FD7FB-FBEB-45A7-9DE8-E8C6EC229EBD}" destId="{0189113B-6517-4A0B-822E-4D8BF4691912}" srcOrd="0" destOrd="0" presId="urn:microsoft.com/office/officeart/2005/8/layout/cycle1"/>
    <dgm:cxn modelId="{2547A11A-6C0F-470E-A19A-211B20056177}" type="presOf" srcId="{66D562AA-F83E-4E16-A27F-1F15BBD6E822}" destId="{3CF06A63-AB5F-43FD-86D4-26F814E99BA6}" srcOrd="0" destOrd="0" presId="urn:microsoft.com/office/officeart/2005/8/layout/cycle1"/>
    <dgm:cxn modelId="{33263C3F-D6EF-45D1-B121-3B196372DEA7}" type="presOf" srcId="{0BE5E463-BECE-4224-9113-371FF514353A}" destId="{870A8AC6-C887-4029-9C68-C9C4CDAABC20}" srcOrd="0" destOrd="0" presId="urn:microsoft.com/office/officeart/2005/8/layout/cycle1"/>
    <dgm:cxn modelId="{109C6E42-5212-4E26-98B1-C1D96CCA8789}" srcId="{66D562AA-F83E-4E16-A27F-1F15BBD6E822}" destId="{DD302E5C-D5E4-4221-9D0D-E4A8B0EE5269}" srcOrd="1" destOrd="0" parTransId="{16630B0E-2C9D-4DE3-A47C-E2AA4ECCDDF4}" sibTransId="{1A3FD7FB-FBEB-45A7-9DE8-E8C6EC229EBD}"/>
    <dgm:cxn modelId="{FCB6EE4B-5F03-4EAB-8EA2-E4B9C2EE2E03}" type="presOf" srcId="{F956D7DA-3472-48C6-BADC-72339D1C61DB}" destId="{9807B164-E649-47E0-8025-790937EA7B8B}" srcOrd="0" destOrd="0" presId="urn:microsoft.com/office/officeart/2005/8/layout/cycle1"/>
    <dgm:cxn modelId="{F1179E6C-E5BA-425B-A9DC-888B131D9AE1}" srcId="{66D562AA-F83E-4E16-A27F-1F15BBD6E822}" destId="{AE61E61B-5C68-4F82-850F-2CE3E03B500B}" srcOrd="0" destOrd="0" parTransId="{5D6ABBFC-9B41-4320-9F16-08AF59BE8FA7}" sibTransId="{0BE5E463-BECE-4224-9113-371FF514353A}"/>
    <dgm:cxn modelId="{ACD6AB56-7C95-4690-ACCF-EEE1D19757E9}" type="presOf" srcId="{AE61E61B-5C68-4F82-850F-2CE3E03B500B}" destId="{F49AB138-729E-4330-807F-182FFE124367}" srcOrd="0" destOrd="0" presId="urn:microsoft.com/office/officeart/2005/8/layout/cycle1"/>
    <dgm:cxn modelId="{F24C1B93-87C6-4E8F-824D-D50929B64BEE}" type="presOf" srcId="{6178F4F7-B8E3-48CF-97DE-3265E3D32AA5}" destId="{BCDE1182-4698-411C-98D5-DBA12F7B680D}" srcOrd="0" destOrd="0" presId="urn:microsoft.com/office/officeart/2005/8/layout/cycle1"/>
    <dgm:cxn modelId="{5E10CFB4-8EC7-4D53-BA1A-562DCC8C24B7}" srcId="{66D562AA-F83E-4E16-A27F-1F15BBD6E822}" destId="{6178F4F7-B8E3-48CF-97DE-3265E3D32AA5}" srcOrd="2" destOrd="0" parTransId="{439C6D97-3D3C-4418-B84A-5DB0DAAF7365}" sibTransId="{F956D7DA-3472-48C6-BADC-72339D1C61DB}"/>
    <dgm:cxn modelId="{9ACB0BC2-588D-44CD-BF8F-FE7BC2568DF7}" type="presOf" srcId="{DD302E5C-D5E4-4221-9D0D-E4A8B0EE5269}" destId="{93C85E84-69DD-4D71-8920-EC0CB446125E}" srcOrd="0" destOrd="0" presId="urn:microsoft.com/office/officeart/2005/8/layout/cycle1"/>
    <dgm:cxn modelId="{F9418870-E80F-4E55-BE35-B2CCB367CDA6}" type="presParOf" srcId="{3CF06A63-AB5F-43FD-86D4-26F814E99BA6}" destId="{B26FBA14-D99B-4A4C-BDBB-3DA11B266299}" srcOrd="0" destOrd="0" presId="urn:microsoft.com/office/officeart/2005/8/layout/cycle1"/>
    <dgm:cxn modelId="{7D43860E-AC4D-4CC1-AB74-AEC90AA21C57}" type="presParOf" srcId="{3CF06A63-AB5F-43FD-86D4-26F814E99BA6}" destId="{F49AB138-729E-4330-807F-182FFE124367}" srcOrd="1" destOrd="0" presId="urn:microsoft.com/office/officeart/2005/8/layout/cycle1"/>
    <dgm:cxn modelId="{EE008773-CCCD-428E-AA24-B05F7E9841E1}" type="presParOf" srcId="{3CF06A63-AB5F-43FD-86D4-26F814E99BA6}" destId="{870A8AC6-C887-4029-9C68-C9C4CDAABC20}" srcOrd="2" destOrd="0" presId="urn:microsoft.com/office/officeart/2005/8/layout/cycle1"/>
    <dgm:cxn modelId="{D3C448CE-10F6-4F6A-A040-44B85710B09A}" type="presParOf" srcId="{3CF06A63-AB5F-43FD-86D4-26F814E99BA6}" destId="{287094EF-799B-44E4-B0D6-14F878EF79E3}" srcOrd="3" destOrd="0" presId="urn:microsoft.com/office/officeart/2005/8/layout/cycle1"/>
    <dgm:cxn modelId="{2253B450-7A05-4E21-A1D1-05297CF99D90}" type="presParOf" srcId="{3CF06A63-AB5F-43FD-86D4-26F814E99BA6}" destId="{93C85E84-69DD-4D71-8920-EC0CB446125E}" srcOrd="4" destOrd="0" presId="urn:microsoft.com/office/officeart/2005/8/layout/cycle1"/>
    <dgm:cxn modelId="{DBFC1151-6055-4B88-91C1-FCABFC58DBF4}" type="presParOf" srcId="{3CF06A63-AB5F-43FD-86D4-26F814E99BA6}" destId="{0189113B-6517-4A0B-822E-4D8BF4691912}" srcOrd="5" destOrd="0" presId="urn:microsoft.com/office/officeart/2005/8/layout/cycle1"/>
    <dgm:cxn modelId="{92FA5621-35DB-4B1E-8408-07A260E058CB}" type="presParOf" srcId="{3CF06A63-AB5F-43FD-86D4-26F814E99BA6}" destId="{6D56BE5A-C9B9-4ECC-8875-4D9DA2602437}" srcOrd="6" destOrd="0" presId="urn:microsoft.com/office/officeart/2005/8/layout/cycle1"/>
    <dgm:cxn modelId="{FB6841FC-93A6-40A7-A6CE-46E31F0A8D81}" type="presParOf" srcId="{3CF06A63-AB5F-43FD-86D4-26F814E99BA6}" destId="{BCDE1182-4698-411C-98D5-DBA12F7B680D}" srcOrd="7" destOrd="0" presId="urn:microsoft.com/office/officeart/2005/8/layout/cycle1"/>
    <dgm:cxn modelId="{06586785-EAF0-4801-9EDE-1CC5C086C1C4}" type="presParOf" srcId="{3CF06A63-AB5F-43FD-86D4-26F814E99BA6}" destId="{9807B164-E649-47E0-8025-790937EA7B8B}" srcOrd="8"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9AB138-729E-4330-807F-182FFE124367}">
      <dsp:nvSpPr>
        <dsp:cNvPr id="0" name=""/>
        <dsp:cNvSpPr/>
      </dsp:nvSpPr>
      <dsp:spPr>
        <a:xfrm>
          <a:off x="3694360" y="218534"/>
          <a:ext cx="1119653" cy="1119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i="1" kern="1200">
              <a:solidFill>
                <a:srgbClr val="545859"/>
              </a:solidFill>
              <a:latin typeface="Arial" panose="020B0604020202020204"/>
              <a:ea typeface="+mn-ea"/>
              <a:cs typeface="+mn-cs"/>
            </a:rPr>
            <a:t>Les DMP ne sont pas créés parce qu’ils ne sont pas consultés</a:t>
          </a:r>
          <a:endParaRPr lang="fr-FR" sz="1300" kern="1200">
            <a:solidFill>
              <a:srgbClr val="545859"/>
            </a:solidFill>
            <a:latin typeface="Arial" panose="020B0604020202020204"/>
            <a:ea typeface="+mn-ea"/>
            <a:cs typeface="+mn-cs"/>
          </a:endParaRPr>
        </a:p>
      </dsp:txBody>
      <dsp:txXfrm>
        <a:off x="3694360" y="218534"/>
        <a:ext cx="1119653" cy="1119653"/>
      </dsp:txXfrm>
    </dsp:sp>
    <dsp:sp modelId="{870A8AC6-C887-4029-9C68-C9C4CDAABC20}">
      <dsp:nvSpPr>
        <dsp:cNvPr id="0" name=""/>
        <dsp:cNvSpPr/>
      </dsp:nvSpPr>
      <dsp:spPr>
        <a:xfrm>
          <a:off x="1991097" y="-1181"/>
          <a:ext cx="2645117" cy="2645117"/>
        </a:xfrm>
        <a:prstGeom prst="circularArrow">
          <a:avLst>
            <a:gd name="adj1" fmla="val 8254"/>
            <a:gd name="adj2" fmla="val 576604"/>
            <a:gd name="adj3" fmla="val 2961627"/>
            <a:gd name="adj4" fmla="val 53215"/>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C85E84-69DD-4D71-8920-EC0CB446125E}">
      <dsp:nvSpPr>
        <dsp:cNvPr id="0" name=""/>
        <dsp:cNvSpPr/>
      </dsp:nvSpPr>
      <dsp:spPr>
        <a:xfrm>
          <a:off x="2753829" y="1847581"/>
          <a:ext cx="1119653" cy="1119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i="1" kern="1200">
              <a:solidFill>
                <a:srgbClr val="545859"/>
              </a:solidFill>
              <a:latin typeface="Arial" panose="020B0604020202020204"/>
              <a:ea typeface="+mn-ea"/>
              <a:cs typeface="+mn-cs"/>
            </a:rPr>
            <a:t>Les DMP ne sont pas consultés parce qu’ils ne sont pas alimentés</a:t>
          </a:r>
          <a:endParaRPr lang="fr-FR" sz="1300" kern="1200">
            <a:solidFill>
              <a:srgbClr val="545859"/>
            </a:solidFill>
            <a:latin typeface="Arial" panose="020B0604020202020204"/>
            <a:ea typeface="+mn-ea"/>
            <a:cs typeface="+mn-cs"/>
          </a:endParaRPr>
        </a:p>
      </dsp:txBody>
      <dsp:txXfrm>
        <a:off x="2753829" y="1847581"/>
        <a:ext cx="1119653" cy="1119653"/>
      </dsp:txXfrm>
    </dsp:sp>
    <dsp:sp modelId="{0189113B-6517-4A0B-822E-4D8BF4691912}">
      <dsp:nvSpPr>
        <dsp:cNvPr id="0" name=""/>
        <dsp:cNvSpPr/>
      </dsp:nvSpPr>
      <dsp:spPr>
        <a:xfrm>
          <a:off x="1991097" y="-1181"/>
          <a:ext cx="2645117" cy="2645117"/>
        </a:xfrm>
        <a:prstGeom prst="circularArrow">
          <a:avLst>
            <a:gd name="adj1" fmla="val 8254"/>
            <a:gd name="adj2" fmla="val 576604"/>
            <a:gd name="adj3" fmla="val 10170181"/>
            <a:gd name="adj4" fmla="val 7261769"/>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CDE1182-4698-411C-98D5-DBA12F7B680D}">
      <dsp:nvSpPr>
        <dsp:cNvPr id="0" name=""/>
        <dsp:cNvSpPr/>
      </dsp:nvSpPr>
      <dsp:spPr>
        <a:xfrm>
          <a:off x="1813298" y="218534"/>
          <a:ext cx="1119653" cy="1119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FR" sz="1300" i="1" kern="1200">
              <a:solidFill>
                <a:srgbClr val="545859"/>
              </a:solidFill>
              <a:latin typeface="Arial" panose="020B0604020202020204"/>
              <a:ea typeface="+mn-ea"/>
              <a:cs typeface="+mn-cs"/>
            </a:rPr>
            <a:t>Les DMP ne sont pas alimentés parce qu’ils ne sont pas créés.</a:t>
          </a:r>
          <a:endParaRPr lang="fr-FR" sz="1300" kern="1200">
            <a:solidFill>
              <a:srgbClr val="545859"/>
            </a:solidFill>
            <a:latin typeface="Arial" panose="020B0604020202020204"/>
            <a:ea typeface="+mn-ea"/>
            <a:cs typeface="+mn-cs"/>
          </a:endParaRPr>
        </a:p>
      </dsp:txBody>
      <dsp:txXfrm>
        <a:off x="1813298" y="218534"/>
        <a:ext cx="1119653" cy="1119653"/>
      </dsp:txXfrm>
    </dsp:sp>
    <dsp:sp modelId="{9807B164-E649-47E0-8025-790937EA7B8B}">
      <dsp:nvSpPr>
        <dsp:cNvPr id="0" name=""/>
        <dsp:cNvSpPr/>
      </dsp:nvSpPr>
      <dsp:spPr>
        <a:xfrm>
          <a:off x="1991097" y="-1181"/>
          <a:ext cx="2645117" cy="2645117"/>
        </a:xfrm>
        <a:prstGeom prst="circularArrow">
          <a:avLst>
            <a:gd name="adj1" fmla="val 8254"/>
            <a:gd name="adj2" fmla="val 576604"/>
            <a:gd name="adj3" fmla="val 16854640"/>
            <a:gd name="adj4" fmla="val 14968756"/>
            <a:gd name="adj5" fmla="val 9630"/>
          </a:avLst>
        </a:prstGeom>
        <a:solidFill>
          <a:srgbClr val="5E74B8">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3128FF7-FF94-47AC-B529-D4767E6CD858}" type="datetimeFigureOut">
              <a:rPr lang="fr-FR" smtClean="0"/>
              <a:t>30/03/2023</a:t>
            </a:fld>
            <a:endParaRPr lang="fr-FR"/>
          </a:p>
        </p:txBody>
      </p:sp>
      <p:sp>
        <p:nvSpPr>
          <p:cNvPr id="4" name="Espace réservé du pied de page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AA300C-F1AE-4A6B-B4D8-CEA34355EA48}" type="slidenum">
              <a:rPr lang="fr-FR" smtClean="0"/>
              <a:t>‹#›</a:t>
            </a:fld>
            <a:endParaRPr lang="fr-FR"/>
          </a:p>
        </p:txBody>
      </p:sp>
    </p:spTree>
    <p:extLst>
      <p:ext uri="{BB962C8B-B14F-4D97-AF65-F5344CB8AC3E}">
        <p14:creationId xmlns:p14="http://schemas.microsoft.com/office/powerpoint/2010/main" val="36136733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079C18-643E-4A84-BDF0-CC81115577FA}" type="datetimeFigureOut">
              <a:rPr lang="fr-FR" smtClean="0"/>
              <a:t>30/03/2023</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497014-2EAD-4331-BC04-EB5FD20613A9}" type="slidenum">
              <a:rPr lang="fr-FR" smtClean="0"/>
              <a:t>‹#›</a:t>
            </a:fld>
            <a:endParaRPr lang="fr-FR"/>
          </a:p>
        </p:txBody>
      </p:sp>
    </p:spTree>
    <p:extLst>
      <p:ext uri="{BB962C8B-B14F-4D97-AF65-F5344CB8AC3E}">
        <p14:creationId xmlns:p14="http://schemas.microsoft.com/office/powerpoint/2010/main" val="20805024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cs typeface="Calibri"/>
              </a:rPr>
              <a:t>Claire</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4</a:t>
            </a:fld>
            <a:endParaRPr lang="fr-FR"/>
          </a:p>
        </p:txBody>
      </p:sp>
    </p:spTree>
    <p:extLst>
      <p:ext uri="{BB962C8B-B14F-4D97-AF65-F5344CB8AC3E}">
        <p14:creationId xmlns:p14="http://schemas.microsoft.com/office/powerpoint/2010/main" val="364584543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Claire</a:t>
            </a: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15</a:t>
            </a:fld>
            <a:endParaRPr lang="fr-FR"/>
          </a:p>
        </p:txBody>
      </p:sp>
    </p:spTree>
    <p:extLst>
      <p:ext uri="{BB962C8B-B14F-4D97-AF65-F5344CB8AC3E}">
        <p14:creationId xmlns:p14="http://schemas.microsoft.com/office/powerpoint/2010/main" val="12396367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Cnam</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16</a:t>
            </a:fld>
            <a:endParaRPr lang="fr-FR"/>
          </a:p>
        </p:txBody>
      </p:sp>
    </p:spTree>
    <p:extLst>
      <p:ext uri="{BB962C8B-B14F-4D97-AF65-F5344CB8AC3E}">
        <p14:creationId xmlns:p14="http://schemas.microsoft.com/office/powerpoint/2010/main" val="15495844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cs typeface="Calibri"/>
              </a:rPr>
              <a:t>Sandra et Stéphanie</a:t>
            </a:r>
          </a:p>
        </p:txBody>
      </p:sp>
      <p:sp>
        <p:nvSpPr>
          <p:cNvPr id="4" name="Espace réservé du numéro de diapositive 3"/>
          <p:cNvSpPr>
            <a:spLocks noGrp="1"/>
          </p:cNvSpPr>
          <p:nvPr>
            <p:ph type="sldNum" sz="quarter" idx="5"/>
          </p:nvPr>
        </p:nvSpPr>
        <p:spPr/>
        <p:txBody>
          <a:bodyPr/>
          <a:lstStyle/>
          <a:p>
            <a:fld id="{BC497014-2EAD-4331-BC04-EB5FD20613A9}" type="slidenum">
              <a:rPr lang="fr-FR" smtClean="0"/>
              <a:t>17</a:t>
            </a:fld>
            <a:endParaRPr lang="fr-FR"/>
          </a:p>
        </p:txBody>
      </p:sp>
    </p:spTree>
    <p:extLst>
      <p:ext uri="{BB962C8B-B14F-4D97-AF65-F5344CB8AC3E}">
        <p14:creationId xmlns:p14="http://schemas.microsoft.com/office/powerpoint/2010/main" val="1328225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cs typeface="Calibri"/>
              </a:rPr>
              <a:t>Sandra et Stéphanie</a:t>
            </a:r>
          </a:p>
        </p:txBody>
      </p:sp>
      <p:sp>
        <p:nvSpPr>
          <p:cNvPr id="4" name="Espace réservé du numéro de diapositive 3"/>
          <p:cNvSpPr>
            <a:spLocks noGrp="1"/>
          </p:cNvSpPr>
          <p:nvPr>
            <p:ph type="sldNum" sz="quarter" idx="5"/>
          </p:nvPr>
        </p:nvSpPr>
        <p:spPr/>
        <p:txBody>
          <a:bodyPr/>
          <a:lstStyle/>
          <a:p>
            <a:fld id="{BC497014-2EAD-4331-BC04-EB5FD20613A9}" type="slidenum">
              <a:rPr lang="fr-FR" smtClean="0"/>
              <a:t>18</a:t>
            </a:fld>
            <a:endParaRPr lang="fr-FR"/>
          </a:p>
        </p:txBody>
      </p:sp>
    </p:spTree>
    <p:extLst>
      <p:ext uri="{BB962C8B-B14F-4D97-AF65-F5344CB8AC3E}">
        <p14:creationId xmlns:p14="http://schemas.microsoft.com/office/powerpoint/2010/main" val="30952678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cs typeface="Calibri"/>
              </a:rPr>
              <a:t>Sandra et Stéphanie</a:t>
            </a:r>
          </a:p>
        </p:txBody>
      </p:sp>
      <p:sp>
        <p:nvSpPr>
          <p:cNvPr id="4" name="Espace réservé du numéro de diapositive 3"/>
          <p:cNvSpPr>
            <a:spLocks noGrp="1"/>
          </p:cNvSpPr>
          <p:nvPr>
            <p:ph type="sldNum" sz="quarter" idx="5"/>
          </p:nvPr>
        </p:nvSpPr>
        <p:spPr/>
        <p:txBody>
          <a:bodyPr/>
          <a:lstStyle/>
          <a:p>
            <a:fld id="{BC497014-2EAD-4331-BC04-EB5FD20613A9}" type="slidenum">
              <a:rPr lang="fr-FR" smtClean="0"/>
              <a:t>19</a:t>
            </a:fld>
            <a:endParaRPr lang="fr-FR"/>
          </a:p>
        </p:txBody>
      </p:sp>
    </p:spTree>
    <p:extLst>
      <p:ext uri="{BB962C8B-B14F-4D97-AF65-F5344CB8AC3E}">
        <p14:creationId xmlns:p14="http://schemas.microsoft.com/office/powerpoint/2010/main" val="26330316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pied de page 3"/>
          <p:cNvSpPr>
            <a:spLocks noGrp="1"/>
          </p:cNvSpPr>
          <p:nvPr>
            <p:ph type="ftr" sz="quarter" idx="10"/>
          </p:nvPr>
        </p:nvSpPr>
        <p:spPr/>
        <p:txBody>
          <a:bodyPr/>
          <a:lstStyle/>
          <a:p>
            <a:r>
              <a:rPr lang="fr-FR"/>
              <a:t>Point presse 29 avril 2021</a:t>
            </a:r>
          </a:p>
          <a:p>
            <a:r>
              <a:rPr lang="fr-FR"/>
              <a:t>
Point presse 29 avril 2021</a:t>
            </a:r>
          </a:p>
          <a:p>
            <a:r>
              <a:rPr lang="fr-FR"/>
              <a:t>
POINT PRESSE 29 AVRIL 2021</a:t>
            </a:r>
          </a:p>
        </p:txBody>
      </p:sp>
      <p:sp>
        <p:nvSpPr>
          <p:cNvPr id="5" name="Espace réservé du numéro de diapositive 4"/>
          <p:cNvSpPr>
            <a:spLocks noGrp="1"/>
          </p:cNvSpPr>
          <p:nvPr>
            <p:ph type="sldNum" sz="quarter" idx="11"/>
          </p:nvPr>
        </p:nvSpPr>
        <p:spPr/>
        <p:txBody>
          <a:bodyPr/>
          <a:lstStyle/>
          <a:p>
            <a:fld id="{22391A9D-FBD1-6549-8392-1A40951E00D9}" type="slidenum">
              <a:rPr lang="fr-FR" smtClean="0"/>
              <a:t>20</a:t>
            </a:fld>
            <a:endParaRPr lang="fr-FR"/>
          </a:p>
        </p:txBody>
      </p:sp>
    </p:spTree>
    <p:extLst>
      <p:ext uri="{BB962C8B-B14F-4D97-AF65-F5344CB8AC3E}">
        <p14:creationId xmlns:p14="http://schemas.microsoft.com/office/powerpoint/2010/main" val="1849999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cs typeface="Calibri"/>
              </a:rPr>
              <a:t>Tous :)</a:t>
            </a:r>
          </a:p>
        </p:txBody>
      </p:sp>
      <p:sp>
        <p:nvSpPr>
          <p:cNvPr id="4" name="Espace réservé du numéro de diapositive 3"/>
          <p:cNvSpPr>
            <a:spLocks noGrp="1"/>
          </p:cNvSpPr>
          <p:nvPr>
            <p:ph type="sldNum" sz="quarter" idx="5"/>
          </p:nvPr>
        </p:nvSpPr>
        <p:spPr/>
        <p:txBody>
          <a:bodyPr/>
          <a:lstStyle/>
          <a:p>
            <a:fld id="{BC497014-2EAD-4331-BC04-EB5FD20613A9}" type="slidenum">
              <a:rPr lang="fr-FR" smtClean="0"/>
              <a:t>21</a:t>
            </a:fld>
            <a:endParaRPr lang="fr-FR"/>
          </a:p>
        </p:txBody>
      </p:sp>
    </p:spTree>
    <p:extLst>
      <p:ext uri="{BB962C8B-B14F-4D97-AF65-F5344CB8AC3E}">
        <p14:creationId xmlns:p14="http://schemas.microsoft.com/office/powerpoint/2010/main" val="19291357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cs typeface="Calibri"/>
              </a:rPr>
              <a:t>Claire</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5</a:t>
            </a:fld>
            <a:endParaRPr lang="fr-FR"/>
          </a:p>
        </p:txBody>
      </p:sp>
    </p:spTree>
    <p:extLst>
      <p:ext uri="{BB962C8B-B14F-4D97-AF65-F5344CB8AC3E}">
        <p14:creationId xmlns:p14="http://schemas.microsoft.com/office/powerpoint/2010/main" val="26601222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cs typeface="Calibri"/>
              </a:rPr>
              <a:t>Claire</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6</a:t>
            </a:fld>
            <a:endParaRPr lang="fr-FR"/>
          </a:p>
        </p:txBody>
      </p:sp>
    </p:spTree>
    <p:extLst>
      <p:ext uri="{BB962C8B-B14F-4D97-AF65-F5344CB8AC3E}">
        <p14:creationId xmlns:p14="http://schemas.microsoft.com/office/powerpoint/2010/main" val="1061013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cs typeface="Calibri"/>
              </a:rPr>
              <a:t>Démo MES pour illustrer : Anne ou Claire</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7</a:t>
            </a:fld>
            <a:endParaRPr lang="fr-FR"/>
          </a:p>
        </p:txBody>
      </p:sp>
    </p:spTree>
    <p:extLst>
      <p:ext uri="{BB962C8B-B14F-4D97-AF65-F5344CB8AC3E}">
        <p14:creationId xmlns:p14="http://schemas.microsoft.com/office/powerpoint/2010/main" val="1607332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Cnam</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8</a:t>
            </a:fld>
            <a:endParaRPr lang="fr-FR"/>
          </a:p>
        </p:txBody>
      </p:sp>
    </p:spTree>
    <p:extLst>
      <p:ext uri="{BB962C8B-B14F-4D97-AF65-F5344CB8AC3E}">
        <p14:creationId xmlns:p14="http://schemas.microsoft.com/office/powerpoint/2010/main" val="22563490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MAJ Cnam</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9</a:t>
            </a:fld>
            <a:endParaRPr lang="fr-FR"/>
          </a:p>
        </p:txBody>
      </p:sp>
    </p:spTree>
    <p:extLst>
      <p:ext uri="{BB962C8B-B14F-4D97-AF65-F5344CB8AC3E}">
        <p14:creationId xmlns:p14="http://schemas.microsoft.com/office/powerpoint/2010/main" val="3600318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cs typeface="Calibri"/>
              </a:rPr>
              <a:t>Anne</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11</a:t>
            </a:fld>
            <a:endParaRPr lang="fr-FR"/>
          </a:p>
        </p:txBody>
      </p:sp>
    </p:spTree>
    <p:extLst>
      <p:ext uri="{BB962C8B-B14F-4D97-AF65-F5344CB8AC3E}">
        <p14:creationId xmlns:p14="http://schemas.microsoft.com/office/powerpoint/2010/main" val="16445888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cs typeface="Calibri"/>
              </a:rPr>
              <a:t>MAJ à faire / Cnam</a:t>
            </a:r>
            <a:endParaRPr lang="fr-FR"/>
          </a:p>
        </p:txBody>
      </p:sp>
      <p:sp>
        <p:nvSpPr>
          <p:cNvPr id="4" name="Espace réservé du numéro de diapositive 3"/>
          <p:cNvSpPr>
            <a:spLocks noGrp="1"/>
          </p:cNvSpPr>
          <p:nvPr>
            <p:ph type="sldNum" sz="quarter" idx="10"/>
          </p:nvPr>
        </p:nvSpPr>
        <p:spPr/>
        <p:txBody>
          <a:bodyPr/>
          <a:lstStyle/>
          <a:p>
            <a:fld id="{BC497014-2EAD-4331-BC04-EB5FD20613A9}" type="slidenum">
              <a:rPr lang="fr-FR" smtClean="0"/>
              <a:t>13</a:t>
            </a:fld>
            <a:endParaRPr lang="fr-FR"/>
          </a:p>
        </p:txBody>
      </p:sp>
    </p:spTree>
    <p:extLst>
      <p:ext uri="{BB962C8B-B14F-4D97-AF65-F5344CB8AC3E}">
        <p14:creationId xmlns:p14="http://schemas.microsoft.com/office/powerpoint/2010/main" val="27518755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E60E55B6-F8BF-47C5-8111-22BA2BAF5144}" type="slidenum">
              <a:rPr kumimoji="0" lang="fr-F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fr-FR"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1395937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Master" Target="../slideMasters/slideMaster1.xml"/><Relationship Id="rId4" Type="http://schemas.openxmlformats.org/officeDocument/2006/relationships/image" Target="../media/image13.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9.png"/><Relationship Id="rId4" Type="http://schemas.openxmlformats.org/officeDocument/2006/relationships/image" Target="../media/image3.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22.png"/><Relationship Id="rId5" Type="http://schemas.openxmlformats.org/officeDocument/2006/relationships/image" Target="../media/image9.png"/><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6.png"/><Relationship Id="rId7" Type="http://schemas.openxmlformats.org/officeDocument/2006/relationships/image" Target="../media/image22.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3.jpeg"/><Relationship Id="rId4" Type="http://schemas.openxmlformats.org/officeDocument/2006/relationships/image" Target="../media/image17.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16.png"/><Relationship Id="rId7" Type="http://schemas.openxmlformats.org/officeDocument/2006/relationships/image" Target="../media/image22.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3.jpeg"/><Relationship Id="rId4" Type="http://schemas.openxmlformats.org/officeDocument/2006/relationships/image" Target="../media/image17.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19.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7.emf"/><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22.png"/><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Master" Target="../slideMasters/slideMaster1.xml"/><Relationship Id="rId4" Type="http://schemas.openxmlformats.org/officeDocument/2006/relationships/image" Target="../media/image13.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10" Type="http://schemas.openxmlformats.org/officeDocument/2006/relationships/image" Target="../media/image25.png"/><Relationship Id="rId4" Type="http://schemas.openxmlformats.org/officeDocument/2006/relationships/tags" Target="../tags/tag3.xml"/><Relationship Id="rId9" Type="http://schemas.openxmlformats.org/officeDocument/2006/relationships/image" Target="../media/image2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9.png"/><Relationship Id="rId4" Type="http://schemas.openxmlformats.org/officeDocument/2006/relationships/image" Target="../media/image3.jpe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0.jpe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6.jpe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8.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5.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5.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6.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29.png"/><Relationship Id="rId7" Type="http://schemas.openxmlformats.org/officeDocument/2006/relationships/image" Target="../media/image4.png"/><Relationship Id="rId2" Type="http://schemas.openxmlformats.org/officeDocument/2006/relationships/image" Target="../media/image31.jpeg"/><Relationship Id="rId1" Type="http://schemas.openxmlformats.org/officeDocument/2006/relationships/slideMaster" Target="../slideMasters/slideMaster3.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 Id="rId9" Type="http://schemas.openxmlformats.org/officeDocument/2006/relationships/image" Target="../media/image35.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png"/><Relationship Id="rId7"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7.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6.png"/><Relationship Id="rId7" Type="http://schemas.openxmlformats.org/officeDocument/2006/relationships/image" Target="../media/image5.pn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7.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emf"/><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19.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7.emf"/><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age de Couverture A">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9E25486-EEA3-7240-8226-EC84AD7886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826" y="1982155"/>
            <a:ext cx="5617029" cy="3744686"/>
          </a:xfrm>
          <a:prstGeom prst="rect">
            <a:avLst/>
          </a:prstGeom>
        </p:spPr>
      </p:pic>
      <p:pic>
        <p:nvPicPr>
          <p:cNvPr id="7" name="Image 6">
            <a:extLst>
              <a:ext uri="{FF2B5EF4-FFF2-40B4-BE49-F238E27FC236}">
                <a16:creationId xmlns:a16="http://schemas.microsoft.com/office/drawing/2014/main" id="{820A41F4-920C-7B44-9853-6EAB7B362115}"/>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0" y="1673"/>
            <a:ext cx="12191999" cy="6854653"/>
          </a:xfrm>
          <a:prstGeom prst="rect">
            <a:avLst/>
          </a:prstGeom>
        </p:spPr>
      </p:pic>
      <p:sp>
        <p:nvSpPr>
          <p:cNvPr id="17" name="Titre 1">
            <a:extLst>
              <a:ext uri="{FF2B5EF4-FFF2-40B4-BE49-F238E27FC236}">
                <a16:creationId xmlns:a16="http://schemas.microsoft.com/office/drawing/2014/main" id="{F7EA1070-2372-EE42-9FD8-FFB4C6EC6C26}"/>
              </a:ext>
            </a:extLst>
          </p:cNvPr>
          <p:cNvSpPr>
            <a:spLocks noGrp="1"/>
          </p:cNvSpPr>
          <p:nvPr>
            <p:ph type="title" hasCustomPrompt="1"/>
          </p:nvPr>
        </p:nvSpPr>
        <p:spPr>
          <a:xfrm>
            <a:off x="4996991" y="2095594"/>
            <a:ext cx="6332521" cy="1462781"/>
          </a:xfrm>
        </p:spPr>
        <p:txBody>
          <a:bodyPr lIns="0" tIns="0" rIns="0" bIns="0" anchor="b">
            <a:normAutofit/>
          </a:bodyPr>
          <a:lstStyle>
            <a:lvl1pPr>
              <a:defRPr lang="fr-FR" sz="4800" b="1" kern="1200" dirty="0">
                <a:solidFill>
                  <a:schemeClr val="tx1"/>
                </a:solidFill>
                <a:latin typeface="Arial" panose="020B0604020202020204" pitchFamily="34" charset="0"/>
                <a:ea typeface="+mn-ea"/>
                <a:cs typeface="Arial" panose="020B0604020202020204" pitchFamily="34" charset="0"/>
              </a:defRPr>
            </a:lvl1pPr>
          </a:lstStyle>
          <a:p>
            <a:r>
              <a:rPr lang="fr-FR"/>
              <a:t>CLIQUEZ POUR </a:t>
            </a:r>
            <a:br>
              <a:rPr lang="fr-FR"/>
            </a:br>
            <a:r>
              <a:rPr lang="fr-FR"/>
              <a:t>AJOUTER UN TITRE</a:t>
            </a:r>
          </a:p>
        </p:txBody>
      </p:sp>
      <p:sp>
        <p:nvSpPr>
          <p:cNvPr id="18" name="Espace réservé du texte 2">
            <a:extLst>
              <a:ext uri="{FF2B5EF4-FFF2-40B4-BE49-F238E27FC236}">
                <a16:creationId xmlns:a16="http://schemas.microsoft.com/office/drawing/2014/main" id="{B85C5C3F-95A4-FA4C-BF63-04CCC7721639}"/>
              </a:ext>
            </a:extLst>
          </p:cNvPr>
          <p:cNvSpPr>
            <a:spLocks noGrp="1"/>
          </p:cNvSpPr>
          <p:nvPr>
            <p:ph type="body" idx="1" hasCustomPrompt="1"/>
          </p:nvPr>
        </p:nvSpPr>
        <p:spPr>
          <a:xfrm>
            <a:off x="4979988" y="3808740"/>
            <a:ext cx="2097315"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Date</a:t>
            </a:r>
          </a:p>
        </p:txBody>
      </p:sp>
      <p:sp>
        <p:nvSpPr>
          <p:cNvPr id="19" name="Espace réservé du texte 2">
            <a:extLst>
              <a:ext uri="{FF2B5EF4-FFF2-40B4-BE49-F238E27FC236}">
                <a16:creationId xmlns:a16="http://schemas.microsoft.com/office/drawing/2014/main" id="{59A5C752-6366-A642-B5BD-8498AEA0ED7D}"/>
              </a:ext>
            </a:extLst>
          </p:cNvPr>
          <p:cNvSpPr>
            <a:spLocks noGrp="1"/>
          </p:cNvSpPr>
          <p:nvPr>
            <p:ph type="body" idx="10" hasCustomPrompt="1"/>
          </p:nvPr>
        </p:nvSpPr>
        <p:spPr>
          <a:xfrm>
            <a:off x="4979987" y="4220932"/>
            <a:ext cx="6349525" cy="308562"/>
          </a:xfrm>
        </p:spPr>
        <p:txBody>
          <a:bodyPr lIns="0" tIns="0" rIns="0" bIns="0">
            <a:noAutofit/>
          </a:bodyPr>
          <a:lstStyle>
            <a:lvl1pPr marL="0" indent="0" algn="l" defTabSz="914400" rtl="0" eaLnBrk="1" latinLnBrk="0" hangingPunct="1">
              <a:lnSpc>
                <a:spcPts val="2400"/>
              </a:lnSpc>
              <a:buNone/>
              <a:defRPr lang="fr-FR" sz="1800"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ervice émetteur</a:t>
            </a:r>
          </a:p>
        </p:txBody>
      </p:sp>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4"/>
          <a:srcRect l="17688" t="14066" r="48632" b="19347"/>
          <a:stretch/>
        </p:blipFill>
        <p:spPr>
          <a:xfrm>
            <a:off x="10734675" y="193393"/>
            <a:ext cx="1325136" cy="819053"/>
          </a:xfrm>
          <a:prstGeom prst="rect">
            <a:avLst/>
          </a:prstGeom>
        </p:spPr>
      </p:pic>
      <p:pic>
        <p:nvPicPr>
          <p:cNvPr id="13" name="Image 12">
            <a:extLst>
              <a:ext uri="{FF2B5EF4-FFF2-40B4-BE49-F238E27FC236}">
                <a16:creationId xmlns:a16="http://schemas.microsoft.com/office/drawing/2014/main" id="{2243E6BC-6888-406A-B31F-4F493CFF85EF}"/>
              </a:ext>
            </a:extLst>
          </p:cNvPr>
          <p:cNvPicPr>
            <a:picLocks noChangeAspect="1"/>
          </p:cNvPicPr>
          <p:nvPr userDrawn="1"/>
        </p:nvPicPr>
        <p:blipFill>
          <a:blip r:embed="rId5"/>
          <a:stretch>
            <a:fillRect/>
          </a:stretch>
        </p:blipFill>
        <p:spPr>
          <a:xfrm>
            <a:off x="9532787" y="6155877"/>
            <a:ext cx="1186973" cy="427738"/>
          </a:xfrm>
          <a:prstGeom prst="rect">
            <a:avLst/>
          </a:prstGeom>
        </p:spPr>
      </p:pic>
      <p:sp>
        <p:nvSpPr>
          <p:cNvPr id="14" name="ZoneTexte 13">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 </a:t>
            </a:r>
            <a:endParaRPr lang="fr-FR" sz="850">
              <a:solidFill>
                <a:srgbClr val="6F7072"/>
              </a:solidFill>
              <a:latin typeface="Arial" panose="020B0604020202020204" pitchFamily="34" charset="0"/>
              <a:cs typeface="Arial" panose="020B0604020202020204" pitchFamily="34" charset="0"/>
            </a:endParaRPr>
          </a:p>
        </p:txBody>
      </p:sp>
      <p:pic>
        <p:nvPicPr>
          <p:cNvPr id="2" name="Image 1"/>
          <p:cNvPicPr>
            <a:picLocks noChangeAspect="1"/>
          </p:cNvPicPr>
          <p:nvPr userDrawn="1"/>
        </p:nvPicPr>
        <p:blipFill>
          <a:blip r:embed="rId6"/>
          <a:stretch>
            <a:fillRect/>
          </a:stretch>
        </p:blipFill>
        <p:spPr>
          <a:xfrm>
            <a:off x="10788858" y="6085944"/>
            <a:ext cx="1375434" cy="584830"/>
          </a:xfrm>
          <a:prstGeom prst="rect">
            <a:avLst/>
          </a:prstGeom>
        </p:spPr>
      </p:pic>
      <p:pic>
        <p:nvPicPr>
          <p:cNvPr id="12"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263783" y="6084949"/>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7104737"/>
      </p:ext>
    </p:extLst>
  </p:cSld>
  <p:clrMapOvr>
    <a:masterClrMapping/>
  </p:clrMapOvr>
  <p:extLst>
    <p:ext uri="{DCECCB84-F9BA-43D5-87BE-67443E8EF086}">
      <p15:sldGuideLst xmlns:p15="http://schemas.microsoft.com/office/powerpoint/2012/main">
        <p15:guide id="1" orient="horz">
          <p15:clr>
            <a:srgbClr val="FBAE40"/>
          </p15:clr>
        </p15:guide>
        <p15:guide id="2" pos="7680">
          <p15:clr>
            <a:srgbClr val="FBAE40"/>
          </p15:clr>
        </p15:guide>
        <p15:guide id="3" pos="3137">
          <p15:clr>
            <a:srgbClr val="FBAE40"/>
          </p15:clr>
        </p15:guide>
        <p15:guide id="4" orient="horz" pos="225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age article / Fond de coule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387B809-D44B-8844-B749-DB4C5E161C04}"/>
              </a:ext>
            </a:extLst>
          </p:cNvPr>
          <p:cNvSpPr/>
          <p:nvPr userDrawn="1"/>
        </p:nvSpPr>
        <p:spPr>
          <a:xfrm>
            <a:off x="0" y="0"/>
            <a:ext cx="12192000" cy="68580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9" name="Image 8">
            <a:extLst>
              <a:ext uri="{FF2B5EF4-FFF2-40B4-BE49-F238E27FC236}">
                <a16:creationId xmlns:a16="http://schemas.microsoft.com/office/drawing/2014/main" id="{3077B7F2-518F-0C4D-ADC0-E35D84B37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4"/>
            <a:ext cx="516648" cy="249990"/>
          </a:xfrm>
          <a:prstGeom prst="rect">
            <a:avLst/>
          </a:prstGeom>
        </p:spPr>
      </p:pic>
      <p:cxnSp>
        <p:nvCxnSpPr>
          <p:cNvPr id="10" name="Connecteur droit 9">
            <a:extLst>
              <a:ext uri="{FF2B5EF4-FFF2-40B4-BE49-F238E27FC236}">
                <a16:creationId xmlns:a16="http://schemas.microsoft.com/office/drawing/2014/main" id="{210377DD-3289-604B-9C0F-5601F30F8FB6}"/>
              </a:ext>
            </a:extLst>
          </p:cNvPr>
          <p:cNvCxnSpPr>
            <a:cxnSpLocks/>
          </p:cNvCxnSpPr>
          <p:nvPr userDrawn="1"/>
        </p:nvCxnSpPr>
        <p:spPr>
          <a:xfrm>
            <a:off x="476352" y="864175"/>
            <a:ext cx="3328827" cy="0"/>
          </a:xfrm>
          <a:prstGeom prst="line">
            <a:avLst/>
          </a:prstGeom>
          <a:ln>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7" name="Espace réservé du texte 21">
            <a:extLst>
              <a:ext uri="{FF2B5EF4-FFF2-40B4-BE49-F238E27FC236}">
                <a16:creationId xmlns:a16="http://schemas.microsoft.com/office/drawing/2014/main" id="{15C01E2E-0ED0-8144-9636-5AB730252C59}"/>
              </a:ext>
            </a:extLst>
          </p:cNvPr>
          <p:cNvSpPr>
            <a:spLocks noGrp="1"/>
          </p:cNvSpPr>
          <p:nvPr>
            <p:ph type="body" sz="quarter" idx="10" hasCustomPrompt="1"/>
          </p:nvPr>
        </p:nvSpPr>
        <p:spPr>
          <a:xfrm>
            <a:off x="4028091" y="716882"/>
            <a:ext cx="4376241" cy="304800"/>
          </a:xfrm>
        </p:spPr>
        <p:txBody>
          <a:bodyPr>
            <a:noAutofit/>
          </a:bodyPr>
          <a:lstStyle>
            <a:lvl1pPr marL="0" indent="0" algn="l" defTabSz="914400" rtl="0" eaLnBrk="1" latinLnBrk="0" hangingPunct="1">
              <a:lnSpc>
                <a:spcPct val="90000"/>
              </a:lnSpc>
              <a:spcBef>
                <a:spcPct val="0"/>
              </a:spcBef>
              <a:buNone/>
              <a:defRPr lang="fr-FR" sz="1600" b="1" kern="1200" dirty="0">
                <a:solidFill>
                  <a:schemeClr val="bg1"/>
                </a:solidFill>
                <a:latin typeface="Arial" panose="020B0604020202020204" pitchFamily="34" charset="0"/>
                <a:ea typeface="+mj-ea"/>
                <a:cs typeface="Arial" panose="020B0604020202020204" pitchFamily="34" charset="0"/>
              </a:defRPr>
            </a:lvl1pPr>
          </a:lstStyle>
          <a:p>
            <a:r>
              <a:rPr lang="fr-FR"/>
              <a:t>Titre de la partie</a:t>
            </a:r>
          </a:p>
        </p:txBody>
      </p:sp>
      <p:sp>
        <p:nvSpPr>
          <p:cNvPr id="18" name="Titre 1">
            <a:extLst>
              <a:ext uri="{FF2B5EF4-FFF2-40B4-BE49-F238E27FC236}">
                <a16:creationId xmlns:a16="http://schemas.microsoft.com/office/drawing/2014/main" id="{455E882E-1CC8-3746-91B9-6550384D3AA1}"/>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bg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AAAD3E24-E7D5-D446-889E-9AE9897A0453}"/>
              </a:ext>
            </a:extLst>
          </p:cNvPr>
          <p:cNvSpPr>
            <a:spLocks noGrp="1"/>
          </p:cNvSpPr>
          <p:nvPr>
            <p:ph sz="half" idx="1" hasCustomPrompt="1"/>
          </p:nvPr>
        </p:nvSpPr>
        <p:spPr>
          <a:xfrm>
            <a:off x="470356" y="2376618"/>
            <a:ext cx="3717470" cy="3054491"/>
          </a:xfrm>
        </p:spPr>
        <p:txBody>
          <a:bodyPr lIns="0" tIns="0" rIns="0" bIns="0">
            <a:noAutofit/>
          </a:bodyPr>
          <a:lstStyle>
            <a:lvl1pPr marL="0" indent="0">
              <a:buNone/>
              <a:defRPr lang="fr-FR" sz="1400" kern="1200" dirty="0">
                <a:solidFill>
                  <a:schemeClr val="bg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a:t>
            </a:r>
          </a:p>
        </p:txBody>
      </p:sp>
      <p:sp>
        <p:nvSpPr>
          <p:cNvPr id="20" name="Espace réservé du contenu 2">
            <a:extLst>
              <a:ext uri="{FF2B5EF4-FFF2-40B4-BE49-F238E27FC236}">
                <a16:creationId xmlns:a16="http://schemas.microsoft.com/office/drawing/2014/main" id="{14E9B65D-0D9F-194C-972A-3B0CA3EAF311}"/>
              </a:ext>
            </a:extLst>
          </p:cNvPr>
          <p:cNvSpPr>
            <a:spLocks noGrp="1"/>
          </p:cNvSpPr>
          <p:nvPr>
            <p:ph sz="half" idx="11" hasCustomPrompt="1"/>
          </p:nvPr>
        </p:nvSpPr>
        <p:spPr>
          <a:xfrm>
            <a:off x="4502050" y="2376617"/>
            <a:ext cx="3717470" cy="3054491"/>
          </a:xfrm>
        </p:spPr>
        <p:txBody>
          <a:bodyPr lIns="0" tIns="0" rIns="0" bIns="0">
            <a:noAutofit/>
          </a:bodyPr>
          <a:lstStyle>
            <a:lvl1pPr marL="0" indent="0">
              <a:buNone/>
              <a:defRPr lang="fr-FR" sz="1400" kern="1200" dirty="0">
                <a:solidFill>
                  <a:schemeClr val="bg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Dolorepta</a:t>
            </a:r>
            <a:r>
              <a:rPr lang="fr-FR" sz="1400">
                <a:latin typeface="Arial" panose="020B0604020202020204" pitchFamily="34" charset="0"/>
                <a:cs typeface="Arial" panose="020B0604020202020204" pitchFamily="34" charset="0"/>
              </a:rPr>
              <a:t> con </a:t>
            </a:r>
            <a:r>
              <a:rPr lang="fr-FR" sz="1400" err="1">
                <a:latin typeface="Arial" panose="020B0604020202020204" pitchFamily="34" charset="0"/>
                <a:cs typeface="Arial" panose="020B0604020202020204" pitchFamily="34" charset="0"/>
              </a:rPr>
              <a:t>pel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i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nia</a:t>
            </a:r>
            <a:r>
              <a:rPr lang="fr-FR" sz="1400">
                <a:latin typeface="Arial" panose="020B0604020202020204" pitchFamily="34" charset="0"/>
                <a:cs typeface="Arial" panose="020B0604020202020204" pitchFamily="34" charset="0"/>
              </a:rPr>
              <a:t> nihil </a:t>
            </a:r>
            <a:r>
              <a:rPr lang="fr-FR" sz="1400" err="1">
                <a:latin typeface="Arial" panose="020B0604020202020204" pitchFamily="34" charset="0"/>
                <a:cs typeface="Arial" panose="020B0604020202020204" pitchFamily="34" charset="0"/>
              </a:rPr>
              <a:t>excea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upid</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nt</a:t>
            </a:r>
            <a:r>
              <a:rPr lang="fr-FR" sz="1400">
                <a:latin typeface="Arial" panose="020B0604020202020204" pitchFamily="34" charset="0"/>
                <a:cs typeface="Arial" panose="020B0604020202020204" pitchFamily="34" charset="0"/>
              </a:rPr>
              <a:t> la </a:t>
            </a:r>
            <a:r>
              <a:rPr lang="fr-FR" sz="1400" err="1">
                <a:latin typeface="Arial" panose="020B0604020202020204" pitchFamily="34" charset="0"/>
                <a:cs typeface="Arial" panose="020B0604020202020204" pitchFamily="34" charset="0"/>
              </a:rPr>
              <a:t>niss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mnitibus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unti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fug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aqu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ctemq</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ae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consequiat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lup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sit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a:t>
            </a:r>
          </a:p>
        </p:txBody>
      </p:sp>
      <p:pic>
        <p:nvPicPr>
          <p:cNvPr id="12" name="Image 11">
            <a:extLst>
              <a:ext uri="{FF2B5EF4-FFF2-40B4-BE49-F238E27FC236}">
                <a16:creationId xmlns:a16="http://schemas.microsoft.com/office/drawing/2014/main" id="{821A0440-FFCC-1843-BBF9-546D889DC4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627244" y="0"/>
            <a:ext cx="3564755" cy="6858000"/>
          </a:xfrm>
          <a:prstGeom prst="rect">
            <a:avLst/>
          </a:prstGeom>
        </p:spPr>
      </p:pic>
      <p:pic>
        <p:nvPicPr>
          <p:cNvPr id="13" name="Image 12">
            <a:extLst>
              <a:ext uri="{FF2B5EF4-FFF2-40B4-BE49-F238E27FC236}">
                <a16:creationId xmlns:a16="http://schemas.microsoft.com/office/drawing/2014/main" id="{7C3590B4-8BF7-7345-BCB4-C3E08B61BD45}"/>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r="10195" b="3950"/>
          <a:stretch/>
        </p:blipFill>
        <p:spPr>
          <a:xfrm>
            <a:off x="9142839" y="3060721"/>
            <a:ext cx="3049162" cy="3797280"/>
          </a:xfrm>
          <a:prstGeom prst="rect">
            <a:avLst/>
          </a:prstGeom>
        </p:spPr>
      </p:pic>
      <p:sp>
        <p:nvSpPr>
          <p:cNvPr id="15" name="ZoneTexte 14">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chemeClr val="bg1"/>
                </a:solidFill>
                <a:latin typeface="Arial" panose="020B0604020202020204" pitchFamily="34" charset="0"/>
                <a:cs typeface="Arial" panose="020B0604020202020204" pitchFamily="34" charset="0"/>
              </a:rPr>
              <a:t>‹#›</a:t>
            </a:fld>
            <a:r>
              <a:rPr lang="fr-FR" sz="850">
                <a:solidFill>
                  <a:schemeClr val="bg1"/>
                </a:solidFill>
                <a:latin typeface="Arial" panose="020B0604020202020204" pitchFamily="34" charset="0"/>
                <a:cs typeface="Arial" panose="020B0604020202020204" pitchFamily="34" charset="0"/>
              </a:rPr>
              <a:t> | Webinaire Mon</a:t>
            </a:r>
            <a:r>
              <a:rPr lang="fr-FR" sz="850" baseline="0">
                <a:solidFill>
                  <a:schemeClr val="bg1"/>
                </a:solidFill>
                <a:latin typeface="Arial" panose="020B0604020202020204" pitchFamily="34" charset="0"/>
                <a:cs typeface="Arial" panose="020B0604020202020204" pitchFamily="34" charset="0"/>
              </a:rPr>
              <a:t> espace santé</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2532380"/>
      </p:ext>
    </p:extLst>
  </p:cSld>
  <p:clrMapOvr>
    <a:masterClrMapping/>
  </p:clrMapOvr>
  <p:extLst>
    <p:ext uri="{DCECCB84-F9BA-43D5-87BE-67443E8EF086}">
      <p15:sldGuideLst xmlns:p15="http://schemas.microsoft.com/office/powerpoint/2012/main">
        <p15:guide id="1" orient="horz" pos="2160">
          <p15:clr>
            <a:srgbClr val="FBAE40"/>
          </p15:clr>
        </p15:guide>
        <p15:guide id="2" pos="5178">
          <p15:clr>
            <a:srgbClr val="FBAE40"/>
          </p15:clr>
        </p15:guide>
        <p15:guide id="3" pos="302">
          <p15:clr>
            <a:srgbClr val="FBAE40"/>
          </p15:clr>
        </p15:guide>
        <p15:guide id="4" pos="2842">
          <p15:clr>
            <a:srgbClr val="FBAE40"/>
          </p15:clr>
        </p15:guide>
        <p15:guide id="5" pos="2638">
          <p15:clr>
            <a:srgbClr val="FBAE40"/>
          </p15:clr>
        </p15:guide>
        <p15:guide id="6" pos="542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ercalaire 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7CEFF-C9A5-B44E-8097-C6D8CE6F2932}"/>
              </a:ext>
            </a:extLst>
          </p:cNvPr>
          <p:cNvSpPr/>
          <p:nvPr userDrawn="1"/>
        </p:nvSpPr>
        <p:spPr>
          <a:xfrm>
            <a:off x="0" y="0"/>
            <a:ext cx="12192000" cy="6858000"/>
          </a:xfrm>
          <a:prstGeom prst="rect">
            <a:avLst/>
          </a:prstGeom>
          <a:solidFill>
            <a:srgbClr val="417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26B67394-3F03-0B41-9F23-F1019F8790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pic>
        <p:nvPicPr>
          <p:cNvPr id="11" name="Image 10">
            <a:extLst>
              <a:ext uri="{FF2B5EF4-FFF2-40B4-BE49-F238E27FC236}">
                <a16:creationId xmlns:a16="http://schemas.microsoft.com/office/drawing/2014/main" id="{58E3CCD0-EF97-8346-B301-6960F00C36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0299" r="9083" b="12517"/>
          <a:stretch/>
        </p:blipFill>
        <p:spPr>
          <a:xfrm>
            <a:off x="9994391" y="0"/>
            <a:ext cx="2197609" cy="6858000"/>
          </a:xfrm>
          <a:prstGeom prst="rect">
            <a:avLst/>
          </a:prstGeom>
        </p:spPr>
      </p:pic>
      <p:sp>
        <p:nvSpPr>
          <p:cNvPr id="12" name="Titre 1">
            <a:extLst>
              <a:ext uri="{FF2B5EF4-FFF2-40B4-BE49-F238E27FC236}">
                <a16:creationId xmlns:a16="http://schemas.microsoft.com/office/drawing/2014/main" id="{0415C11F-44AC-C24D-9D2F-6897A40205BB}"/>
              </a:ext>
            </a:extLst>
          </p:cNvPr>
          <p:cNvSpPr>
            <a:spLocks noGrp="1"/>
          </p:cNvSpPr>
          <p:nvPr>
            <p:ph type="title" hasCustomPrompt="1"/>
          </p:nvPr>
        </p:nvSpPr>
        <p:spPr>
          <a:xfrm>
            <a:off x="490831" y="2285599"/>
            <a:ext cx="6332521" cy="1462781"/>
          </a:xfrm>
        </p:spPr>
        <p:txBody>
          <a:bodyPr lIns="0" tIns="0" rIns="0" bIns="0" anchor="b">
            <a:normAutofit/>
          </a:bodyPr>
          <a:lstStyle>
            <a:lvl1pPr>
              <a:defRPr lang="fr-FR" sz="4800" b="1" kern="1200" dirty="0">
                <a:solidFill>
                  <a:schemeClr val="bg1"/>
                </a:solidFill>
                <a:latin typeface="Arial" panose="020B0604020202020204" pitchFamily="34" charset="0"/>
                <a:ea typeface="+mn-ea"/>
                <a:cs typeface="Arial" panose="020B0604020202020204" pitchFamily="34" charset="0"/>
              </a:defRPr>
            </a:lvl1pPr>
          </a:lstStyle>
          <a:p>
            <a:r>
              <a:rPr lang="fr-FR"/>
              <a:t>TITRE DE LA PARTIE</a:t>
            </a:r>
            <a:br>
              <a:rPr lang="fr-FR"/>
            </a:br>
            <a:r>
              <a:rPr lang="fr-FR"/>
              <a:t>(INTERCALAIRE)</a:t>
            </a:r>
          </a:p>
        </p:txBody>
      </p:sp>
      <p:sp>
        <p:nvSpPr>
          <p:cNvPr id="13" name="Espace réservé du texte 2">
            <a:extLst>
              <a:ext uri="{FF2B5EF4-FFF2-40B4-BE49-F238E27FC236}">
                <a16:creationId xmlns:a16="http://schemas.microsoft.com/office/drawing/2014/main" id="{A9ECA64F-AF84-DC4F-8A30-80E2309F5E02}"/>
              </a:ext>
            </a:extLst>
          </p:cNvPr>
          <p:cNvSpPr>
            <a:spLocks noGrp="1"/>
          </p:cNvSpPr>
          <p:nvPr>
            <p:ph type="body" idx="1" hasCustomPrompt="1"/>
          </p:nvPr>
        </p:nvSpPr>
        <p:spPr>
          <a:xfrm>
            <a:off x="473828" y="3998745"/>
            <a:ext cx="4294640"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bg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ous-titre</a:t>
            </a:r>
          </a:p>
        </p:txBody>
      </p:sp>
      <p:sp>
        <p:nvSpPr>
          <p:cNvPr id="9" name="ZoneTexte 8">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chemeClr val="bg1"/>
                </a:solidFill>
                <a:latin typeface="Arial" panose="020B0604020202020204" pitchFamily="34" charset="0"/>
                <a:cs typeface="Arial" panose="020B0604020202020204" pitchFamily="34" charset="0"/>
              </a:rPr>
              <a:t>‹#›</a:t>
            </a:fld>
            <a:r>
              <a:rPr lang="fr-FR" sz="850">
                <a:solidFill>
                  <a:schemeClr val="bg1"/>
                </a:solidFill>
                <a:latin typeface="Arial" panose="020B0604020202020204" pitchFamily="34" charset="0"/>
                <a:cs typeface="Arial" panose="020B0604020202020204" pitchFamily="34" charset="0"/>
              </a:rPr>
              <a:t> | Webinaire Mon</a:t>
            </a:r>
            <a:r>
              <a:rPr lang="fr-FR" sz="850" baseline="0">
                <a:solidFill>
                  <a:schemeClr val="bg1"/>
                </a:solidFill>
                <a:latin typeface="Arial" panose="020B0604020202020204" pitchFamily="34" charset="0"/>
                <a:cs typeface="Arial" panose="020B0604020202020204" pitchFamily="34" charset="0"/>
              </a:rPr>
              <a:t> espace santé</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98081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atrième de couver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B86459-0ECC-FE46-A5ED-095A3C2CE23B}"/>
              </a:ext>
            </a:extLst>
          </p:cNvPr>
          <p:cNvSpPr/>
          <p:nvPr userDrawn="1"/>
        </p:nvSpPr>
        <p:spPr>
          <a:xfrm>
            <a:off x="0" y="1"/>
            <a:ext cx="12192000" cy="6858000"/>
          </a:xfrm>
          <a:prstGeom prst="rect">
            <a:avLst/>
          </a:prstGeom>
          <a:solidFill>
            <a:srgbClr val="417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a:extLst>
              <a:ext uri="{FF2B5EF4-FFF2-40B4-BE49-F238E27FC236}">
                <a16:creationId xmlns:a16="http://schemas.microsoft.com/office/drawing/2014/main" id="{0A582367-B3E4-2F49-AEBE-A3771D2607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3116" b="2943"/>
          <a:stretch/>
        </p:blipFill>
        <p:spPr>
          <a:xfrm>
            <a:off x="8557495" y="2130553"/>
            <a:ext cx="3634505" cy="4727448"/>
          </a:xfrm>
          <a:prstGeom prst="rect">
            <a:avLst/>
          </a:prstGeom>
        </p:spPr>
      </p:pic>
      <p:pic>
        <p:nvPicPr>
          <p:cNvPr id="8" name="Image 7">
            <a:extLst>
              <a:ext uri="{FF2B5EF4-FFF2-40B4-BE49-F238E27FC236}">
                <a16:creationId xmlns:a16="http://schemas.microsoft.com/office/drawing/2014/main" id="{34B5F1ED-9668-E245-B33D-ED180A6884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sp>
        <p:nvSpPr>
          <p:cNvPr id="10" name="ZoneTexte 9">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chemeClr val="bg1"/>
                </a:solidFill>
                <a:latin typeface="Arial" panose="020B0604020202020204" pitchFamily="34" charset="0"/>
                <a:cs typeface="Arial" panose="020B0604020202020204" pitchFamily="34" charset="0"/>
              </a:rPr>
              <a:t>‹#›</a:t>
            </a:fld>
            <a:r>
              <a:rPr lang="fr-FR" sz="850">
                <a:solidFill>
                  <a:schemeClr val="bg1"/>
                </a:solidFill>
                <a:latin typeface="Arial" panose="020B0604020202020204" pitchFamily="34" charset="0"/>
                <a:cs typeface="Arial" panose="020B0604020202020204" pitchFamily="34" charset="0"/>
              </a:rPr>
              <a:t> | Webinaire Mon</a:t>
            </a:r>
            <a:r>
              <a:rPr lang="fr-FR" sz="850" baseline="0">
                <a:solidFill>
                  <a:schemeClr val="bg1"/>
                </a:solidFill>
                <a:latin typeface="Arial" panose="020B0604020202020204" pitchFamily="34" charset="0"/>
                <a:cs typeface="Arial" panose="020B0604020202020204" pitchFamily="34" charset="0"/>
              </a:rPr>
              <a:t> espace santé </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02825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Page de Couverture A">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9E25486-EEA3-7240-8226-EC84AD78860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3826" y="1982155"/>
            <a:ext cx="5617029" cy="3744686"/>
          </a:xfrm>
          <a:prstGeom prst="rect">
            <a:avLst/>
          </a:prstGeom>
        </p:spPr>
      </p:pic>
      <p:pic>
        <p:nvPicPr>
          <p:cNvPr id="7" name="Image 6">
            <a:extLst>
              <a:ext uri="{FF2B5EF4-FFF2-40B4-BE49-F238E27FC236}">
                <a16:creationId xmlns:a16="http://schemas.microsoft.com/office/drawing/2014/main" id="{820A41F4-920C-7B44-9853-6EAB7B362115}"/>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0" y="1673"/>
            <a:ext cx="12191999" cy="6854653"/>
          </a:xfrm>
          <a:prstGeom prst="rect">
            <a:avLst/>
          </a:prstGeom>
        </p:spPr>
      </p:pic>
      <p:sp>
        <p:nvSpPr>
          <p:cNvPr id="17" name="Titre 1">
            <a:extLst>
              <a:ext uri="{FF2B5EF4-FFF2-40B4-BE49-F238E27FC236}">
                <a16:creationId xmlns:a16="http://schemas.microsoft.com/office/drawing/2014/main" id="{F7EA1070-2372-EE42-9FD8-FFB4C6EC6C26}"/>
              </a:ext>
            </a:extLst>
          </p:cNvPr>
          <p:cNvSpPr>
            <a:spLocks noGrp="1"/>
          </p:cNvSpPr>
          <p:nvPr>
            <p:ph type="title" hasCustomPrompt="1"/>
          </p:nvPr>
        </p:nvSpPr>
        <p:spPr>
          <a:xfrm>
            <a:off x="4996991" y="2095594"/>
            <a:ext cx="6332521" cy="1462781"/>
          </a:xfrm>
        </p:spPr>
        <p:txBody>
          <a:bodyPr lIns="0" tIns="0" rIns="0" bIns="0" anchor="b">
            <a:normAutofit/>
          </a:bodyPr>
          <a:lstStyle>
            <a:lvl1pPr>
              <a:defRPr lang="fr-FR" sz="4800" b="1" kern="1200" dirty="0">
                <a:solidFill>
                  <a:schemeClr val="tx1"/>
                </a:solidFill>
                <a:latin typeface="Arial" panose="020B0604020202020204" pitchFamily="34" charset="0"/>
                <a:ea typeface="+mn-ea"/>
                <a:cs typeface="Arial" panose="020B0604020202020204" pitchFamily="34" charset="0"/>
              </a:defRPr>
            </a:lvl1pPr>
          </a:lstStyle>
          <a:p>
            <a:r>
              <a:rPr lang="fr-FR"/>
              <a:t>CLIQUEZ POUR </a:t>
            </a:r>
            <a:br>
              <a:rPr lang="fr-FR"/>
            </a:br>
            <a:r>
              <a:rPr lang="fr-FR"/>
              <a:t>AJOUTER UN TITRE</a:t>
            </a:r>
          </a:p>
        </p:txBody>
      </p:sp>
      <p:sp>
        <p:nvSpPr>
          <p:cNvPr id="18" name="Espace réservé du texte 2">
            <a:extLst>
              <a:ext uri="{FF2B5EF4-FFF2-40B4-BE49-F238E27FC236}">
                <a16:creationId xmlns:a16="http://schemas.microsoft.com/office/drawing/2014/main" id="{B85C5C3F-95A4-FA4C-BF63-04CCC7721639}"/>
              </a:ext>
            </a:extLst>
          </p:cNvPr>
          <p:cNvSpPr>
            <a:spLocks noGrp="1"/>
          </p:cNvSpPr>
          <p:nvPr>
            <p:ph type="body" idx="1" hasCustomPrompt="1"/>
          </p:nvPr>
        </p:nvSpPr>
        <p:spPr>
          <a:xfrm>
            <a:off x="4979988" y="3808740"/>
            <a:ext cx="2097315"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Date</a:t>
            </a:r>
          </a:p>
        </p:txBody>
      </p:sp>
      <p:sp>
        <p:nvSpPr>
          <p:cNvPr id="19" name="Espace réservé du texte 2">
            <a:extLst>
              <a:ext uri="{FF2B5EF4-FFF2-40B4-BE49-F238E27FC236}">
                <a16:creationId xmlns:a16="http://schemas.microsoft.com/office/drawing/2014/main" id="{59A5C752-6366-A642-B5BD-8498AEA0ED7D}"/>
              </a:ext>
            </a:extLst>
          </p:cNvPr>
          <p:cNvSpPr>
            <a:spLocks noGrp="1"/>
          </p:cNvSpPr>
          <p:nvPr>
            <p:ph type="body" idx="10" hasCustomPrompt="1"/>
          </p:nvPr>
        </p:nvSpPr>
        <p:spPr>
          <a:xfrm>
            <a:off x="4979987" y="4220932"/>
            <a:ext cx="6349525" cy="308562"/>
          </a:xfrm>
        </p:spPr>
        <p:txBody>
          <a:bodyPr lIns="0" tIns="0" rIns="0" bIns="0">
            <a:noAutofit/>
          </a:bodyPr>
          <a:lstStyle>
            <a:lvl1pPr marL="0" indent="0" algn="l" defTabSz="914400" rtl="0" eaLnBrk="1" latinLnBrk="0" hangingPunct="1">
              <a:lnSpc>
                <a:spcPts val="2400"/>
              </a:lnSpc>
              <a:buNone/>
              <a:defRPr lang="fr-FR" sz="1800"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ervice émetteur</a:t>
            </a:r>
          </a:p>
        </p:txBody>
      </p:sp>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4"/>
          <a:srcRect l="17688" t="14066" r="48632" b="19347"/>
          <a:stretch/>
        </p:blipFill>
        <p:spPr>
          <a:xfrm>
            <a:off x="10734675" y="193393"/>
            <a:ext cx="1325136" cy="819053"/>
          </a:xfrm>
          <a:prstGeom prst="rect">
            <a:avLst/>
          </a:prstGeom>
        </p:spPr>
      </p:pic>
      <p:pic>
        <p:nvPicPr>
          <p:cNvPr id="11" name="Image 10"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5"/>
          <a:stretch>
            <a:fillRect/>
          </a:stretch>
        </p:blipFill>
        <p:spPr>
          <a:xfrm>
            <a:off x="8494592" y="6085944"/>
            <a:ext cx="960105" cy="750481"/>
          </a:xfrm>
          <a:prstGeom prst="rect">
            <a:avLst/>
          </a:prstGeom>
        </p:spPr>
      </p:pic>
      <p:pic>
        <p:nvPicPr>
          <p:cNvPr id="12" name="Image 11">
            <a:extLst>
              <a:ext uri="{FF2B5EF4-FFF2-40B4-BE49-F238E27FC236}">
                <a16:creationId xmlns:a16="http://schemas.microsoft.com/office/drawing/2014/main" id="{810DAD4F-20FB-4F5E-84B2-7CECA99BD24F}"/>
              </a:ext>
            </a:extLst>
          </p:cNvPr>
          <p:cNvPicPr>
            <a:picLocks noChangeAspect="1"/>
          </p:cNvPicPr>
          <p:nvPr userDrawn="1"/>
        </p:nvPicPr>
        <p:blipFill rotWithShape="1">
          <a:blip r:embed="rId6"/>
          <a:srcRect t="24719" b="23896"/>
          <a:stretch/>
        </p:blipFill>
        <p:spPr>
          <a:xfrm>
            <a:off x="10800525" y="6085940"/>
            <a:ext cx="1330191" cy="513493"/>
          </a:xfrm>
          <a:prstGeom prst="rect">
            <a:avLst/>
          </a:prstGeom>
        </p:spPr>
      </p:pic>
      <p:pic>
        <p:nvPicPr>
          <p:cNvPr id="13" name="Image 12">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9504434" y="6170578"/>
            <a:ext cx="1330191" cy="479348"/>
          </a:xfrm>
          <a:prstGeom prst="rect">
            <a:avLst/>
          </a:prstGeom>
        </p:spPr>
      </p:pic>
      <p:sp>
        <p:nvSpPr>
          <p:cNvPr id="14" name="ZoneTexte 13">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marL="0" marR="0" lvl="0" indent="0" algn="l" defTabSz="914400" rtl="0" eaLnBrk="1" fontAlgn="auto" latinLnBrk="0" hangingPunct="1">
              <a:lnSpc>
                <a:spcPts val="1100"/>
              </a:lnSpc>
              <a:spcBef>
                <a:spcPts val="0"/>
              </a:spcBef>
              <a:spcAft>
                <a:spcPts val="0"/>
              </a:spcAft>
              <a:buClrTx/>
              <a:buSzTx/>
              <a:buFontTx/>
              <a:buNone/>
              <a:tabLst/>
              <a:defRPr/>
            </a:pPr>
            <a:fld id="{942FCC0B-ED92-42D7-8A66-BF2DFC78E49D}" type="slidenum">
              <a:rPr lang="fr-FR" sz="850" smtClean="0">
                <a:solidFill>
                  <a:srgbClr val="6F7072"/>
                </a:solidFill>
                <a:cs typeface="Arial" panose="020B0604020202020204" pitchFamily="34" charset="0"/>
              </a:rPr>
              <a:pPr marL="0" marR="0" lvl="0" indent="0" algn="l" defTabSz="914400" rtl="0" eaLnBrk="1" fontAlgn="auto" latinLnBrk="0" hangingPunct="1">
                <a:lnSpc>
                  <a:spcPts val="1100"/>
                </a:lnSpc>
                <a:spcBef>
                  <a:spcPts val="0"/>
                </a:spcBef>
                <a:spcAft>
                  <a:spcPts val="0"/>
                </a:spcAft>
                <a:buClrTx/>
                <a:buSzTx/>
                <a:buFontTx/>
                <a:buNone/>
                <a:tabLst/>
                <a:defRPr/>
              </a:pPr>
              <a:t>‹#›</a:t>
            </a:fld>
            <a:r>
              <a:rPr lang="fr-FR" sz="850">
                <a:solidFill>
                  <a:srgbClr val="6F7072"/>
                </a:solidFill>
                <a:cs typeface="Arial" panose="020B0604020202020204" pitchFamily="34" charset="0"/>
              </a:rPr>
              <a:t> | Webinaire Mon espace santé</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9144910"/>
      </p:ext>
    </p:extLst>
  </p:cSld>
  <p:clrMapOvr>
    <a:masterClrMapping/>
  </p:clrMapOvr>
  <p:extLst>
    <p:ext uri="{DCECCB84-F9BA-43D5-87BE-67443E8EF086}">
      <p15:sldGuideLst xmlns:p15="http://schemas.microsoft.com/office/powerpoint/2012/main">
        <p15:guide id="1" orient="horz">
          <p15:clr>
            <a:srgbClr val="FBAE40"/>
          </p15:clr>
        </p15:guide>
        <p15:guide id="2" pos="7680">
          <p15:clr>
            <a:srgbClr val="FBAE40"/>
          </p15:clr>
        </p15:guide>
        <p15:guide id="3" pos="3137">
          <p15:clr>
            <a:srgbClr val="FBAE40"/>
          </p15:clr>
        </p15:guide>
        <p15:guide id="4" orient="horz" pos="225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age de Couverture B">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7553362B-0D70-3E42-82CA-BCD592F307A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1221194"/>
            <a:ext cx="4689523" cy="4969856"/>
          </a:xfrm>
          <a:prstGeom prst="rect">
            <a:avLst/>
          </a:prstGeom>
        </p:spPr>
      </p:pic>
      <p:pic>
        <p:nvPicPr>
          <p:cNvPr id="11" name="Image 10">
            <a:extLst>
              <a:ext uri="{FF2B5EF4-FFF2-40B4-BE49-F238E27FC236}">
                <a16:creationId xmlns:a16="http://schemas.microsoft.com/office/drawing/2014/main" id="{926D9EC8-3F89-D34C-BAA2-01906AE968A5}"/>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0" y="1673"/>
            <a:ext cx="12192000" cy="6854653"/>
          </a:xfrm>
          <a:prstGeom prst="rect">
            <a:avLst/>
          </a:prstGeom>
        </p:spPr>
      </p:pic>
      <p:sp>
        <p:nvSpPr>
          <p:cNvPr id="17" name="Titre 1">
            <a:extLst>
              <a:ext uri="{FF2B5EF4-FFF2-40B4-BE49-F238E27FC236}">
                <a16:creationId xmlns:a16="http://schemas.microsoft.com/office/drawing/2014/main" id="{F7EA1070-2372-EE42-9FD8-FFB4C6EC6C26}"/>
              </a:ext>
            </a:extLst>
          </p:cNvPr>
          <p:cNvSpPr>
            <a:spLocks noGrp="1"/>
          </p:cNvSpPr>
          <p:nvPr>
            <p:ph type="title" hasCustomPrompt="1"/>
          </p:nvPr>
        </p:nvSpPr>
        <p:spPr>
          <a:xfrm>
            <a:off x="4996991" y="2095594"/>
            <a:ext cx="6332521" cy="1462781"/>
          </a:xfrm>
        </p:spPr>
        <p:txBody>
          <a:bodyPr lIns="0" tIns="0" rIns="0" bIns="0" anchor="b">
            <a:normAutofit/>
          </a:bodyPr>
          <a:lstStyle>
            <a:lvl1pPr>
              <a:defRPr lang="fr-FR" sz="4800" b="1" kern="1200" dirty="0">
                <a:solidFill>
                  <a:schemeClr val="tx1"/>
                </a:solidFill>
                <a:latin typeface="Arial" panose="020B0604020202020204" pitchFamily="34" charset="0"/>
                <a:ea typeface="+mn-ea"/>
                <a:cs typeface="Arial" panose="020B0604020202020204" pitchFamily="34" charset="0"/>
              </a:defRPr>
            </a:lvl1pPr>
          </a:lstStyle>
          <a:p>
            <a:r>
              <a:rPr lang="fr-FR"/>
              <a:t>CLIQUEZ POUR </a:t>
            </a:r>
            <a:br>
              <a:rPr lang="fr-FR"/>
            </a:br>
            <a:r>
              <a:rPr lang="fr-FR"/>
              <a:t>AJOUTER UN TITRE</a:t>
            </a:r>
          </a:p>
        </p:txBody>
      </p:sp>
      <p:sp>
        <p:nvSpPr>
          <p:cNvPr id="18" name="Espace réservé du texte 2">
            <a:extLst>
              <a:ext uri="{FF2B5EF4-FFF2-40B4-BE49-F238E27FC236}">
                <a16:creationId xmlns:a16="http://schemas.microsoft.com/office/drawing/2014/main" id="{B85C5C3F-95A4-FA4C-BF63-04CCC7721639}"/>
              </a:ext>
            </a:extLst>
          </p:cNvPr>
          <p:cNvSpPr>
            <a:spLocks noGrp="1"/>
          </p:cNvSpPr>
          <p:nvPr>
            <p:ph type="body" idx="1" hasCustomPrompt="1"/>
          </p:nvPr>
        </p:nvSpPr>
        <p:spPr>
          <a:xfrm>
            <a:off x="4979988" y="3808740"/>
            <a:ext cx="2097315"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Date</a:t>
            </a:r>
          </a:p>
        </p:txBody>
      </p:sp>
      <p:sp>
        <p:nvSpPr>
          <p:cNvPr id="19" name="Espace réservé du texte 2">
            <a:extLst>
              <a:ext uri="{FF2B5EF4-FFF2-40B4-BE49-F238E27FC236}">
                <a16:creationId xmlns:a16="http://schemas.microsoft.com/office/drawing/2014/main" id="{59A5C752-6366-A642-B5BD-8498AEA0ED7D}"/>
              </a:ext>
            </a:extLst>
          </p:cNvPr>
          <p:cNvSpPr>
            <a:spLocks noGrp="1"/>
          </p:cNvSpPr>
          <p:nvPr>
            <p:ph type="body" idx="10" hasCustomPrompt="1"/>
          </p:nvPr>
        </p:nvSpPr>
        <p:spPr>
          <a:xfrm>
            <a:off x="4979987" y="4220932"/>
            <a:ext cx="6349525" cy="308562"/>
          </a:xfrm>
        </p:spPr>
        <p:txBody>
          <a:bodyPr lIns="0" tIns="0" rIns="0" bIns="0">
            <a:noAutofit/>
          </a:bodyPr>
          <a:lstStyle>
            <a:lvl1pPr marL="0" indent="0" algn="l" defTabSz="914400" rtl="0" eaLnBrk="1" latinLnBrk="0" hangingPunct="1">
              <a:lnSpc>
                <a:spcPts val="2400"/>
              </a:lnSpc>
              <a:buNone/>
              <a:defRPr lang="fr-FR" sz="1800"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ervice émetteur</a:t>
            </a:r>
          </a:p>
        </p:txBody>
      </p:sp>
      <p:pic>
        <p:nvPicPr>
          <p:cNvPr id="12" name="Image 11">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4"/>
          <a:srcRect l="17688" t="14066" r="48632" b="19347"/>
          <a:stretch/>
        </p:blipFill>
        <p:spPr>
          <a:xfrm>
            <a:off x="10734675" y="202629"/>
            <a:ext cx="1325136" cy="819053"/>
          </a:xfrm>
          <a:prstGeom prst="rect">
            <a:avLst/>
          </a:prstGeom>
        </p:spPr>
      </p:pic>
      <p:pic>
        <p:nvPicPr>
          <p:cNvPr id="14" name="Image 13"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5"/>
          <a:stretch>
            <a:fillRect/>
          </a:stretch>
        </p:blipFill>
        <p:spPr>
          <a:xfrm>
            <a:off x="8494592" y="6076708"/>
            <a:ext cx="960105" cy="750481"/>
          </a:xfrm>
          <a:prstGeom prst="rect">
            <a:avLst/>
          </a:prstGeom>
        </p:spPr>
      </p:pic>
      <p:pic>
        <p:nvPicPr>
          <p:cNvPr id="15" name="Image 14">
            <a:extLst>
              <a:ext uri="{FF2B5EF4-FFF2-40B4-BE49-F238E27FC236}">
                <a16:creationId xmlns:a16="http://schemas.microsoft.com/office/drawing/2014/main" id="{810DAD4F-20FB-4F5E-84B2-7CECA99BD24F}"/>
              </a:ext>
            </a:extLst>
          </p:cNvPr>
          <p:cNvPicPr>
            <a:picLocks noChangeAspect="1"/>
          </p:cNvPicPr>
          <p:nvPr userDrawn="1"/>
        </p:nvPicPr>
        <p:blipFill rotWithShape="1">
          <a:blip r:embed="rId6"/>
          <a:srcRect t="24719" b="23896"/>
          <a:stretch/>
        </p:blipFill>
        <p:spPr>
          <a:xfrm>
            <a:off x="10800525" y="6076704"/>
            <a:ext cx="1330191" cy="513493"/>
          </a:xfrm>
          <a:prstGeom prst="rect">
            <a:avLst/>
          </a:prstGeom>
        </p:spPr>
      </p:pic>
      <p:pic>
        <p:nvPicPr>
          <p:cNvPr id="16" name="Image 15">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9504434" y="6161342"/>
            <a:ext cx="1330191" cy="479348"/>
          </a:xfrm>
          <a:prstGeom prst="rect">
            <a:avLst/>
          </a:prstGeom>
        </p:spPr>
      </p:pic>
      <p:sp>
        <p:nvSpPr>
          <p:cNvPr id="22" name="ZoneTexte 21">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cs typeface="Arial" panose="020B0604020202020204" pitchFamily="34" charset="0"/>
              </a:rPr>
              <a:pPr>
                <a:lnSpc>
                  <a:spcPts val="1100"/>
                </a:lnSpc>
              </a:pPr>
              <a:t>‹#›</a:t>
            </a:fld>
            <a:r>
              <a:rPr lang="fr-FR" sz="850">
                <a:solidFill>
                  <a:srgbClr val="6F7072"/>
                </a:solidFill>
                <a:cs typeface="Arial" panose="020B0604020202020204" pitchFamily="34" charset="0"/>
              </a:rPr>
              <a:t> | Webinaire Mon espace santé</a:t>
            </a:r>
          </a:p>
        </p:txBody>
      </p:sp>
    </p:spTree>
    <p:extLst>
      <p:ext uri="{BB962C8B-B14F-4D97-AF65-F5344CB8AC3E}">
        <p14:creationId xmlns:p14="http://schemas.microsoft.com/office/powerpoint/2010/main" val="1760040981"/>
      </p:ext>
    </p:extLst>
  </p:cSld>
  <p:clrMapOvr>
    <a:masterClrMapping/>
  </p:clrMapOvr>
  <p:extLst>
    <p:ext uri="{DCECCB84-F9BA-43D5-87BE-67443E8EF086}">
      <p15:sldGuideLst xmlns:p15="http://schemas.microsoft.com/office/powerpoint/2012/main">
        <p15:guide id="1" orient="horz">
          <p15:clr>
            <a:srgbClr val="FBAE40"/>
          </p15:clr>
        </p15:guide>
        <p15:guide id="2" pos="7680">
          <p15:clr>
            <a:srgbClr val="FBAE40"/>
          </p15:clr>
        </p15:guide>
        <p15:guide id="3" pos="3137">
          <p15:clr>
            <a:srgbClr val="FBAE40"/>
          </p15:clr>
        </p15:guide>
        <p15:guide id="4" orient="horz" pos="225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12192000" cy="68580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7335293" y="860157"/>
            <a:ext cx="4856708" cy="5997844"/>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490831" y="2285599"/>
            <a:ext cx="6332521" cy="1462781"/>
          </a:xfrm>
        </p:spPr>
        <p:txBody>
          <a:bodyPr lIns="0" tIns="0" rIns="0" bIns="0" anchor="b">
            <a:normAutofit/>
          </a:bodyPr>
          <a:lstStyle>
            <a:lvl1pPr>
              <a:defRPr lang="fr-FR" sz="4800" b="1" kern="1200" dirty="0">
                <a:solidFill>
                  <a:schemeClr val="bg1"/>
                </a:solidFill>
                <a:latin typeface="Arial" panose="020B0604020202020204" pitchFamily="34" charset="0"/>
                <a:ea typeface="+mn-ea"/>
                <a:cs typeface="Arial" panose="020B0604020202020204" pitchFamily="34" charset="0"/>
              </a:defRPr>
            </a:lvl1pPr>
          </a:lstStyle>
          <a:p>
            <a:r>
              <a:rPr lang="fr-FR"/>
              <a:t>TITRE DE LA PARTIE</a:t>
            </a:r>
            <a:br>
              <a:rPr lang="fr-FR"/>
            </a:br>
            <a:r>
              <a:rPr lang="fr-FR"/>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473828" y="3998745"/>
            <a:ext cx="4294640"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bg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ous-titre</a:t>
            </a:r>
          </a:p>
        </p:txBody>
      </p:sp>
      <p:sp>
        <p:nvSpPr>
          <p:cNvPr id="11" name="ZoneTexte 10">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prstClr val="white"/>
                </a:solidFill>
                <a:cs typeface="Arial" panose="020B0604020202020204" pitchFamily="34" charset="0"/>
              </a:rPr>
              <a:pPr>
                <a:lnSpc>
                  <a:spcPts val="1100"/>
                </a:lnSpc>
              </a:pPr>
              <a:t>‹#›</a:t>
            </a:fld>
            <a:r>
              <a:rPr lang="fr-FR" sz="850">
                <a:solidFill>
                  <a:prstClr val="white"/>
                </a:solidFill>
                <a:cs typeface="Arial" panose="020B0604020202020204" pitchFamily="34" charset="0"/>
              </a:rPr>
              <a:t> | Webinaire Mon espace santé / 24 mai 2022</a:t>
            </a:r>
          </a:p>
        </p:txBody>
      </p:sp>
    </p:spTree>
    <p:extLst>
      <p:ext uri="{BB962C8B-B14F-4D97-AF65-F5344CB8AC3E}">
        <p14:creationId xmlns:p14="http://schemas.microsoft.com/office/powerpoint/2010/main" val="8426528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age article avec logo MS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37D0B4C5-1680-CA44-8FB5-1F5F70BE85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014208"/>
            <a:ext cx="3662774" cy="2291124"/>
          </a:xfrm>
          <a:prstGeom prst="rect">
            <a:avLst/>
          </a:prstGeom>
        </p:spPr>
      </p:pic>
      <p:pic>
        <p:nvPicPr>
          <p:cNvPr id="7" name="Image 6">
            <a:extLst>
              <a:ext uri="{FF2B5EF4-FFF2-40B4-BE49-F238E27FC236}">
                <a16:creationId xmlns:a16="http://schemas.microsoft.com/office/drawing/2014/main" id="{794A2F6D-3469-C841-9F39-9AA0B64846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673"/>
            <a:ext cx="12191999" cy="6854652"/>
          </a:xfrm>
          <a:prstGeom prst="rect">
            <a:avLst/>
          </a:prstGeom>
        </p:spPr>
      </p:pic>
      <p:pic>
        <p:nvPicPr>
          <p:cNvPr id="11" name="Image 10">
            <a:extLst>
              <a:ext uri="{FF2B5EF4-FFF2-40B4-BE49-F238E27FC236}">
                <a16:creationId xmlns:a16="http://schemas.microsoft.com/office/drawing/2014/main" id="{675045FC-21AB-8341-BFC2-4A16AC088D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12" name="Connecteur droit 11">
            <a:extLst>
              <a:ext uri="{FF2B5EF4-FFF2-40B4-BE49-F238E27FC236}">
                <a16:creationId xmlns:a16="http://schemas.microsoft.com/office/drawing/2014/main" id="{83CF3C63-C2E5-F14C-A190-AEA1F151930B}"/>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8" name="Titre 1">
            <a:extLst>
              <a:ext uri="{FF2B5EF4-FFF2-40B4-BE49-F238E27FC236}">
                <a16:creationId xmlns:a16="http://schemas.microsoft.com/office/drawing/2014/main" id="{DDCD3B5B-05E9-A849-8625-33CB5A51FD8D}"/>
              </a:ext>
            </a:extLst>
          </p:cNvPr>
          <p:cNvSpPr>
            <a:spLocks noGrp="1"/>
          </p:cNvSpPr>
          <p:nvPr>
            <p:ph type="title" hasCustomPrompt="1"/>
          </p:nvPr>
        </p:nvSpPr>
        <p:spPr>
          <a:xfrm>
            <a:off x="3422821" y="1799198"/>
            <a:ext cx="7484076"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08808046-E445-DE40-A5C0-05567F14E027}"/>
              </a:ext>
            </a:extLst>
          </p:cNvPr>
          <p:cNvSpPr>
            <a:spLocks noGrp="1"/>
          </p:cNvSpPr>
          <p:nvPr>
            <p:ph sz="half" idx="1" hasCustomPrompt="1"/>
          </p:nvPr>
        </p:nvSpPr>
        <p:spPr>
          <a:xfrm>
            <a:off x="3422821" y="2376618"/>
            <a:ext cx="7484076"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 con </a:t>
            </a:r>
            <a:r>
              <a:rPr lang="fr-FR" sz="1400" err="1">
                <a:latin typeface="Arial" panose="020B0604020202020204" pitchFamily="34" charset="0"/>
                <a:cs typeface="Arial" panose="020B0604020202020204" pitchFamily="34" charset="0"/>
              </a:rPr>
              <a:t>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imusd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erum</a:t>
            </a:r>
            <a:r>
              <a:rPr lang="fr-FR" sz="1400">
                <a:latin typeface="Arial" panose="020B0604020202020204" pitchFamily="34" charset="0"/>
                <a:cs typeface="Arial" panose="020B0604020202020204" pitchFamily="34" charset="0"/>
              </a:rPr>
              <a:t> ex </a:t>
            </a:r>
            <a:r>
              <a:rPr lang="fr-FR" sz="1400" err="1">
                <a:latin typeface="Arial" panose="020B0604020202020204" pitchFamily="34" charset="0"/>
                <a:cs typeface="Arial" panose="020B0604020202020204" pitchFamily="34" charset="0"/>
              </a:rPr>
              <a:t>explicia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se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am</a:t>
            </a:r>
            <a:r>
              <a:rPr lang="fr-FR" sz="1400">
                <a:latin typeface="Arial" panose="020B0604020202020204" pitchFamily="34" charset="0"/>
                <a:cs typeface="Arial" panose="020B0604020202020204" pitchFamily="34" charset="0"/>
              </a:rPr>
              <a:t> que et ut </a:t>
            </a:r>
            <a:r>
              <a:rPr lang="fr-FR" sz="1400" err="1">
                <a:latin typeface="Arial" panose="020B0604020202020204" pitchFamily="34" charset="0"/>
                <a:cs typeface="Arial" panose="020B0604020202020204" pitchFamily="34" charset="0"/>
              </a:rPr>
              <a:t>vol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or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accaboria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ommo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offic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ribusci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pe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rernat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bu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tota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litatem</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Ehent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i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iori</a:t>
            </a:r>
            <a:r>
              <a:rPr lang="fr-FR" sz="1400">
                <a:latin typeface="Arial" panose="020B0604020202020204" pitchFamily="34" charset="0"/>
                <a:cs typeface="Arial" panose="020B0604020202020204" pitchFamily="34" charset="0"/>
              </a:rPr>
              <a:t> dit, </a:t>
            </a:r>
            <a:r>
              <a:rPr lang="fr-FR" sz="1400" err="1">
                <a:latin typeface="Arial" panose="020B0604020202020204" pitchFamily="34" charset="0"/>
                <a:cs typeface="Arial" panose="020B0604020202020204" pitchFamily="34" charset="0"/>
              </a:rPr>
              <a:t>sundio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perum</a:t>
            </a:r>
            <a:endParaRPr lang="fr-FR" sz="1400">
              <a:latin typeface="Arial" panose="020B0604020202020204" pitchFamily="34" charset="0"/>
              <a:cs typeface="Arial" panose="020B0604020202020204" pitchFamily="34" charset="0"/>
            </a:endParaRPr>
          </a:p>
        </p:txBody>
      </p:sp>
      <p:sp>
        <p:nvSpPr>
          <p:cNvPr id="22" name="Espace réservé du texte 21">
            <a:extLst>
              <a:ext uri="{FF2B5EF4-FFF2-40B4-BE49-F238E27FC236}">
                <a16:creationId xmlns:a16="http://schemas.microsoft.com/office/drawing/2014/main" id="{5B1D212D-1CBD-084D-8AB1-D8E338E054DB}"/>
              </a:ext>
            </a:extLst>
          </p:cNvPr>
          <p:cNvSpPr>
            <a:spLocks noGrp="1"/>
          </p:cNvSpPr>
          <p:nvPr>
            <p:ph type="body" sz="quarter" idx="10" hasCustomPrompt="1"/>
          </p:nvPr>
        </p:nvSpPr>
        <p:spPr>
          <a:xfrm>
            <a:off x="3954115" y="716882"/>
            <a:ext cx="7063618"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pic>
        <p:nvPicPr>
          <p:cNvPr id="23" name="Image 22">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10734675" y="202629"/>
            <a:ext cx="1325136" cy="819053"/>
          </a:xfrm>
          <a:prstGeom prst="rect">
            <a:avLst/>
          </a:prstGeom>
        </p:spPr>
      </p:pic>
      <p:pic>
        <p:nvPicPr>
          <p:cNvPr id="24" name="Image 23"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6"/>
          <a:stretch>
            <a:fillRect/>
          </a:stretch>
        </p:blipFill>
        <p:spPr>
          <a:xfrm>
            <a:off x="8494592" y="6076708"/>
            <a:ext cx="960105" cy="750481"/>
          </a:xfrm>
          <a:prstGeom prst="rect">
            <a:avLst/>
          </a:prstGeom>
        </p:spPr>
      </p:pic>
      <p:pic>
        <p:nvPicPr>
          <p:cNvPr id="25" name="Image 24">
            <a:extLst>
              <a:ext uri="{FF2B5EF4-FFF2-40B4-BE49-F238E27FC236}">
                <a16:creationId xmlns:a16="http://schemas.microsoft.com/office/drawing/2014/main" id="{810DAD4F-20FB-4F5E-84B2-7CECA99BD24F}"/>
              </a:ext>
            </a:extLst>
          </p:cNvPr>
          <p:cNvPicPr>
            <a:picLocks noChangeAspect="1"/>
          </p:cNvPicPr>
          <p:nvPr userDrawn="1"/>
        </p:nvPicPr>
        <p:blipFill rotWithShape="1">
          <a:blip r:embed="rId7"/>
          <a:srcRect t="24719" b="23896"/>
          <a:stretch/>
        </p:blipFill>
        <p:spPr>
          <a:xfrm>
            <a:off x="10800525" y="6076704"/>
            <a:ext cx="1330191" cy="513493"/>
          </a:xfrm>
          <a:prstGeom prst="rect">
            <a:avLst/>
          </a:prstGeom>
        </p:spPr>
      </p:pic>
      <p:pic>
        <p:nvPicPr>
          <p:cNvPr id="26" name="Image 25">
            <a:extLst>
              <a:ext uri="{FF2B5EF4-FFF2-40B4-BE49-F238E27FC236}">
                <a16:creationId xmlns:a16="http://schemas.microsoft.com/office/drawing/2014/main" id="{2243E6BC-6888-406A-B31F-4F493CFF85EF}"/>
              </a:ext>
            </a:extLst>
          </p:cNvPr>
          <p:cNvPicPr>
            <a:picLocks noChangeAspect="1"/>
          </p:cNvPicPr>
          <p:nvPr userDrawn="1"/>
        </p:nvPicPr>
        <p:blipFill>
          <a:blip r:embed="rId8"/>
          <a:stretch>
            <a:fillRect/>
          </a:stretch>
        </p:blipFill>
        <p:spPr>
          <a:xfrm>
            <a:off x="9504434" y="6161342"/>
            <a:ext cx="1330191" cy="479348"/>
          </a:xfrm>
          <a:prstGeom prst="rect">
            <a:avLst/>
          </a:prstGeom>
        </p:spPr>
      </p:pic>
      <p:sp>
        <p:nvSpPr>
          <p:cNvPr id="28" name="ZoneTexte 27">
            <a:extLst>
              <a:ext uri="{FF2B5EF4-FFF2-40B4-BE49-F238E27FC236}">
                <a16:creationId xmlns:a16="http://schemas.microsoft.com/office/drawing/2014/main" id="{BF65BC1F-129F-934C-BD82-CB1592C34E16}"/>
              </a:ext>
            </a:extLst>
          </p:cNvPr>
          <p:cNvSpPr txBox="1"/>
          <p:nvPr userDrawn="1"/>
        </p:nvSpPr>
        <p:spPr>
          <a:xfrm>
            <a:off x="484964" y="6552514"/>
            <a:ext cx="6595672" cy="130613"/>
          </a:xfrm>
          <a:prstGeom prst="rect">
            <a:avLst/>
          </a:prstGeom>
          <a:noFill/>
        </p:spPr>
        <p:txBody>
          <a:bodyPr wrap="square" lIns="0" tIns="0" rIns="0" bIns="0" rtlCol="0">
            <a:spAutoFit/>
          </a:bodyPr>
          <a:lstStyle/>
          <a:p>
            <a:pPr marL="0" marR="0" lvl="0" indent="0" algn="l" defTabSz="914400" rtl="0" eaLnBrk="1" fontAlgn="auto" latinLnBrk="0" hangingPunct="1">
              <a:lnSpc>
                <a:spcPts val="1100"/>
              </a:lnSpc>
              <a:spcBef>
                <a:spcPts val="0"/>
              </a:spcBef>
              <a:spcAft>
                <a:spcPts val="0"/>
              </a:spcAft>
              <a:buClrTx/>
              <a:buSzTx/>
              <a:buFontTx/>
              <a:buNone/>
              <a:tabLst/>
              <a:defRPr/>
            </a:pPr>
            <a:fld id="{942FCC0B-ED92-42D7-8A66-BF2DFC78E49D}" type="slidenum">
              <a:rPr lang="fr-FR" sz="850" smtClean="0">
                <a:solidFill>
                  <a:srgbClr val="6F7072"/>
                </a:solidFill>
                <a:cs typeface="Arial" panose="020B0604020202020204" pitchFamily="34" charset="0"/>
              </a:rPr>
              <a:pPr marL="0" marR="0" lvl="0" indent="0" algn="l" defTabSz="914400" rtl="0" eaLnBrk="1" fontAlgn="auto" latinLnBrk="0" hangingPunct="1">
                <a:lnSpc>
                  <a:spcPts val="1100"/>
                </a:lnSpc>
                <a:spcBef>
                  <a:spcPts val="0"/>
                </a:spcBef>
                <a:spcAft>
                  <a:spcPts val="0"/>
                </a:spcAft>
                <a:buClrTx/>
                <a:buSzTx/>
                <a:buFontTx/>
                <a:buNone/>
                <a:tabLst/>
                <a:defRPr/>
              </a:pPr>
              <a:t>‹#›</a:t>
            </a:fld>
            <a:r>
              <a:rPr lang="fr-FR" sz="850">
                <a:solidFill>
                  <a:srgbClr val="6F7072"/>
                </a:solidFill>
                <a:cs typeface="Arial" panose="020B0604020202020204" pitchFamily="34" charset="0"/>
              </a:rPr>
              <a:t> | Webinaire Mon espace santé / </a:t>
            </a:r>
            <a:r>
              <a:rPr lang="fr-FR" sz="850">
                <a:solidFill>
                  <a:srgbClr val="6F7072"/>
                </a:solidFill>
                <a:latin typeface="Arial" panose="020B0604020202020204" pitchFamily="34" charset="0"/>
                <a:cs typeface="Arial" panose="020B0604020202020204" pitchFamily="34" charset="0"/>
              </a:rPr>
              <a:t>24 mai </a:t>
            </a:r>
            <a:r>
              <a:rPr lang="fr-FR" sz="850" baseline="0">
                <a:solidFill>
                  <a:srgbClr val="6F7072"/>
                </a:solidFill>
                <a:latin typeface="Arial" panose="020B0604020202020204" pitchFamily="34" charset="0"/>
                <a:cs typeface="Arial" panose="020B0604020202020204" pitchFamily="34" charset="0"/>
              </a:rPr>
              <a:t>2022</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28058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Page articl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BF51FF9-91D6-DB4F-8D0F-4EAD402061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014208"/>
            <a:ext cx="3662774" cy="2291124"/>
          </a:xfrm>
          <a:prstGeom prst="rect">
            <a:avLst/>
          </a:prstGeom>
        </p:spPr>
      </p:pic>
      <p:pic>
        <p:nvPicPr>
          <p:cNvPr id="7" name="Image 6">
            <a:extLst>
              <a:ext uri="{FF2B5EF4-FFF2-40B4-BE49-F238E27FC236}">
                <a16:creationId xmlns:a16="http://schemas.microsoft.com/office/drawing/2014/main" id="{794A2F6D-3469-C841-9F39-9AA0B64846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673"/>
            <a:ext cx="12191999" cy="6854652"/>
          </a:xfrm>
          <a:prstGeom prst="rect">
            <a:avLst/>
          </a:prstGeom>
        </p:spPr>
      </p:pic>
      <p:pic>
        <p:nvPicPr>
          <p:cNvPr id="11" name="Image 10">
            <a:extLst>
              <a:ext uri="{FF2B5EF4-FFF2-40B4-BE49-F238E27FC236}">
                <a16:creationId xmlns:a16="http://schemas.microsoft.com/office/drawing/2014/main" id="{675045FC-21AB-8341-BFC2-4A16AC088D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12" name="Connecteur droit 11">
            <a:extLst>
              <a:ext uri="{FF2B5EF4-FFF2-40B4-BE49-F238E27FC236}">
                <a16:creationId xmlns:a16="http://schemas.microsoft.com/office/drawing/2014/main" id="{83CF3C63-C2E5-F14C-A190-AEA1F151930B}"/>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8" name="Titre 1">
            <a:extLst>
              <a:ext uri="{FF2B5EF4-FFF2-40B4-BE49-F238E27FC236}">
                <a16:creationId xmlns:a16="http://schemas.microsoft.com/office/drawing/2014/main" id="{DDCD3B5B-05E9-A849-8625-33CB5A51FD8D}"/>
              </a:ext>
            </a:extLst>
          </p:cNvPr>
          <p:cNvSpPr>
            <a:spLocks noGrp="1"/>
          </p:cNvSpPr>
          <p:nvPr>
            <p:ph type="title" hasCustomPrompt="1"/>
          </p:nvPr>
        </p:nvSpPr>
        <p:spPr>
          <a:xfrm>
            <a:off x="3422821" y="1799198"/>
            <a:ext cx="7484076" cy="480400"/>
          </a:xfrm>
        </p:spPr>
        <p:txBody>
          <a:bodyPr lIns="0" tIns="0" rIns="0" bIns="0">
            <a:norm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08808046-E445-DE40-A5C0-05567F14E027}"/>
              </a:ext>
            </a:extLst>
          </p:cNvPr>
          <p:cNvSpPr>
            <a:spLocks noGrp="1"/>
          </p:cNvSpPr>
          <p:nvPr>
            <p:ph sz="half" idx="1" hasCustomPrompt="1"/>
          </p:nvPr>
        </p:nvSpPr>
        <p:spPr>
          <a:xfrm>
            <a:off x="3422821" y="2376618"/>
            <a:ext cx="7484076" cy="3054491"/>
          </a:xfrm>
        </p:spPr>
        <p:txBody>
          <a:bodyPr lIns="0" tIns="0" rIns="0" bIns="0">
            <a:norm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 con </a:t>
            </a:r>
            <a:r>
              <a:rPr lang="fr-FR" sz="1400" err="1">
                <a:latin typeface="Arial" panose="020B0604020202020204" pitchFamily="34" charset="0"/>
                <a:cs typeface="Arial" panose="020B0604020202020204" pitchFamily="34" charset="0"/>
              </a:rPr>
              <a:t>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imusd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erum</a:t>
            </a:r>
            <a:r>
              <a:rPr lang="fr-FR" sz="1400">
                <a:latin typeface="Arial" panose="020B0604020202020204" pitchFamily="34" charset="0"/>
                <a:cs typeface="Arial" panose="020B0604020202020204" pitchFamily="34" charset="0"/>
              </a:rPr>
              <a:t> ex </a:t>
            </a:r>
            <a:r>
              <a:rPr lang="fr-FR" sz="1400" err="1">
                <a:latin typeface="Arial" panose="020B0604020202020204" pitchFamily="34" charset="0"/>
                <a:cs typeface="Arial" panose="020B0604020202020204" pitchFamily="34" charset="0"/>
              </a:rPr>
              <a:t>explicia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se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am</a:t>
            </a:r>
            <a:r>
              <a:rPr lang="fr-FR" sz="1400">
                <a:latin typeface="Arial" panose="020B0604020202020204" pitchFamily="34" charset="0"/>
                <a:cs typeface="Arial" panose="020B0604020202020204" pitchFamily="34" charset="0"/>
              </a:rPr>
              <a:t> que et ut </a:t>
            </a:r>
            <a:r>
              <a:rPr lang="fr-FR" sz="1400" err="1">
                <a:latin typeface="Arial" panose="020B0604020202020204" pitchFamily="34" charset="0"/>
                <a:cs typeface="Arial" panose="020B0604020202020204" pitchFamily="34" charset="0"/>
              </a:rPr>
              <a:t>vol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or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accaboria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ommo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offic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ribusci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pe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rernat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bu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tota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litatem</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Ehent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i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iori</a:t>
            </a:r>
            <a:r>
              <a:rPr lang="fr-FR" sz="1400">
                <a:latin typeface="Arial" panose="020B0604020202020204" pitchFamily="34" charset="0"/>
                <a:cs typeface="Arial" panose="020B0604020202020204" pitchFamily="34" charset="0"/>
              </a:rPr>
              <a:t> dit, </a:t>
            </a:r>
            <a:r>
              <a:rPr lang="fr-FR" sz="1400" err="1">
                <a:latin typeface="Arial" panose="020B0604020202020204" pitchFamily="34" charset="0"/>
                <a:cs typeface="Arial" panose="020B0604020202020204" pitchFamily="34" charset="0"/>
              </a:rPr>
              <a:t>sundio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perum</a:t>
            </a:r>
            <a:endParaRPr lang="fr-FR" sz="1400">
              <a:latin typeface="Arial" panose="020B0604020202020204" pitchFamily="34" charset="0"/>
              <a:cs typeface="Arial" panose="020B0604020202020204" pitchFamily="34" charset="0"/>
            </a:endParaRPr>
          </a:p>
        </p:txBody>
      </p:sp>
      <p:sp>
        <p:nvSpPr>
          <p:cNvPr id="22" name="Espace réservé du texte 21">
            <a:extLst>
              <a:ext uri="{FF2B5EF4-FFF2-40B4-BE49-F238E27FC236}">
                <a16:creationId xmlns:a16="http://schemas.microsoft.com/office/drawing/2014/main" id="{0FE6A3AC-1D9F-6B40-B804-BC70C5D713D6}"/>
              </a:ext>
            </a:extLst>
          </p:cNvPr>
          <p:cNvSpPr>
            <a:spLocks noGrp="1"/>
          </p:cNvSpPr>
          <p:nvPr>
            <p:ph type="body" sz="quarter" idx="10" hasCustomPrompt="1"/>
          </p:nvPr>
        </p:nvSpPr>
        <p:spPr>
          <a:xfrm>
            <a:off x="3981824" y="716882"/>
            <a:ext cx="7063618"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pic>
        <p:nvPicPr>
          <p:cNvPr id="14" name="Image 13">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10734675" y="202629"/>
            <a:ext cx="1325136" cy="819053"/>
          </a:xfrm>
          <a:prstGeom prst="rect">
            <a:avLst/>
          </a:prstGeom>
        </p:spPr>
      </p:pic>
      <p:pic>
        <p:nvPicPr>
          <p:cNvPr id="15" name="Image 14"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6"/>
          <a:stretch>
            <a:fillRect/>
          </a:stretch>
        </p:blipFill>
        <p:spPr>
          <a:xfrm>
            <a:off x="8494592" y="6076708"/>
            <a:ext cx="960105" cy="750481"/>
          </a:xfrm>
          <a:prstGeom prst="rect">
            <a:avLst/>
          </a:prstGeom>
        </p:spPr>
      </p:pic>
      <p:pic>
        <p:nvPicPr>
          <p:cNvPr id="16" name="Image 15">
            <a:extLst>
              <a:ext uri="{FF2B5EF4-FFF2-40B4-BE49-F238E27FC236}">
                <a16:creationId xmlns:a16="http://schemas.microsoft.com/office/drawing/2014/main" id="{810DAD4F-20FB-4F5E-84B2-7CECA99BD24F}"/>
              </a:ext>
            </a:extLst>
          </p:cNvPr>
          <p:cNvPicPr>
            <a:picLocks noChangeAspect="1"/>
          </p:cNvPicPr>
          <p:nvPr userDrawn="1"/>
        </p:nvPicPr>
        <p:blipFill rotWithShape="1">
          <a:blip r:embed="rId7"/>
          <a:srcRect t="24719" b="23896"/>
          <a:stretch/>
        </p:blipFill>
        <p:spPr>
          <a:xfrm>
            <a:off x="10800525" y="6076704"/>
            <a:ext cx="1330191" cy="513493"/>
          </a:xfrm>
          <a:prstGeom prst="rect">
            <a:avLst/>
          </a:prstGeom>
        </p:spPr>
      </p:pic>
      <p:pic>
        <p:nvPicPr>
          <p:cNvPr id="17" name="Image 16">
            <a:extLst>
              <a:ext uri="{FF2B5EF4-FFF2-40B4-BE49-F238E27FC236}">
                <a16:creationId xmlns:a16="http://schemas.microsoft.com/office/drawing/2014/main" id="{2243E6BC-6888-406A-B31F-4F493CFF85EF}"/>
              </a:ext>
            </a:extLst>
          </p:cNvPr>
          <p:cNvPicPr>
            <a:picLocks noChangeAspect="1"/>
          </p:cNvPicPr>
          <p:nvPr userDrawn="1"/>
        </p:nvPicPr>
        <p:blipFill>
          <a:blip r:embed="rId8"/>
          <a:stretch>
            <a:fillRect/>
          </a:stretch>
        </p:blipFill>
        <p:spPr>
          <a:xfrm>
            <a:off x="9504434" y="6161342"/>
            <a:ext cx="1330191" cy="479348"/>
          </a:xfrm>
          <a:prstGeom prst="rect">
            <a:avLst/>
          </a:prstGeom>
        </p:spPr>
      </p:pic>
      <p:sp>
        <p:nvSpPr>
          <p:cNvPr id="21" name="ZoneTexte 20">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cs typeface="Arial" panose="020B0604020202020204" pitchFamily="34" charset="0"/>
              </a:rPr>
              <a:pPr>
                <a:lnSpc>
                  <a:spcPts val="1100"/>
                </a:lnSpc>
              </a:pPr>
              <a:t>‹#›</a:t>
            </a:fld>
            <a:r>
              <a:rPr lang="fr-FR" sz="850">
                <a:solidFill>
                  <a:srgbClr val="6F7072"/>
                </a:solidFill>
                <a:cs typeface="Arial" panose="020B0604020202020204" pitchFamily="34" charset="0"/>
              </a:rPr>
              <a:t> | Webinaire Mon espace santé</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54549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age article / Image colonn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843279" y="716882"/>
            <a:ext cx="2252721"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4" name="Image 13">
            <a:extLst>
              <a:ext uri="{FF2B5EF4-FFF2-40B4-BE49-F238E27FC236}">
                <a16:creationId xmlns:a16="http://schemas.microsoft.com/office/drawing/2014/main" id="{6A8A7006-50D9-2146-90FA-ADEE04673A6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816725" y="4432"/>
            <a:ext cx="5375275" cy="6853568"/>
          </a:xfrm>
          <a:prstGeom prst="rect">
            <a:avLst/>
          </a:prstGeom>
        </p:spPr>
      </p:pic>
      <p:pic>
        <p:nvPicPr>
          <p:cNvPr id="15" name="Image 14">
            <a:extLst>
              <a:ext uri="{FF2B5EF4-FFF2-40B4-BE49-F238E27FC236}">
                <a16:creationId xmlns:a16="http://schemas.microsoft.com/office/drawing/2014/main" id="{F765691A-CC9E-8B46-AA1D-4F600A1AA483}"/>
              </a:ext>
            </a:extLst>
          </p:cNvPr>
          <p:cNvPicPr>
            <a:picLocks noChangeAspect="1"/>
          </p:cNvPicPr>
          <p:nvPr userDrawn="1"/>
        </p:nvPicPr>
        <p:blipFill rotWithShape="1">
          <a:blip r:embed="rId4" cstate="email">
            <a:alphaModFix amt="35000"/>
            <a:extLst>
              <a:ext uri="{28A0092B-C50C-407E-A947-70E740481C1C}">
                <a14:useLocalDpi xmlns:a14="http://schemas.microsoft.com/office/drawing/2010/main"/>
              </a:ext>
            </a:extLst>
          </a:blip>
          <a:srcRect l="2854" r="1971" b="3454"/>
          <a:stretch/>
        </p:blipFill>
        <p:spPr>
          <a:xfrm>
            <a:off x="6796216" y="4209536"/>
            <a:ext cx="5395784" cy="2648464"/>
          </a:xfrm>
          <a:prstGeom prst="rect">
            <a:avLst/>
          </a:prstGeom>
        </p:spPr>
      </p:pic>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5491589" y="5801242"/>
            <a:ext cx="1325136" cy="819053"/>
          </a:xfrm>
          <a:prstGeom prst="rect">
            <a:avLst/>
          </a:prstGeom>
        </p:spPr>
      </p:pic>
      <p:sp>
        <p:nvSpPr>
          <p:cNvPr id="18" name="ZoneTexte 17">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marL="0" marR="0" lvl="0" indent="0" algn="l" defTabSz="914400" rtl="0" eaLnBrk="1" fontAlgn="auto" latinLnBrk="0" hangingPunct="1">
              <a:lnSpc>
                <a:spcPts val="1100"/>
              </a:lnSpc>
              <a:spcBef>
                <a:spcPts val="0"/>
              </a:spcBef>
              <a:spcAft>
                <a:spcPts val="0"/>
              </a:spcAft>
              <a:buClrTx/>
              <a:buSzTx/>
              <a:buFontTx/>
              <a:buNone/>
              <a:tabLst/>
              <a:defRPr/>
            </a:pPr>
            <a:fld id="{942FCC0B-ED92-42D7-8A66-BF2DFC78E49D}" type="slidenum">
              <a:rPr lang="fr-FR" sz="850" smtClean="0">
                <a:solidFill>
                  <a:srgbClr val="6F7072"/>
                </a:solidFill>
                <a:cs typeface="Arial" panose="020B0604020202020204" pitchFamily="34" charset="0"/>
              </a:rPr>
              <a:pPr marL="0" marR="0" lvl="0" indent="0" algn="l" defTabSz="914400" rtl="0" eaLnBrk="1" fontAlgn="auto" latinLnBrk="0" hangingPunct="1">
                <a:lnSpc>
                  <a:spcPts val="1100"/>
                </a:lnSpc>
                <a:spcBef>
                  <a:spcPts val="0"/>
                </a:spcBef>
                <a:spcAft>
                  <a:spcPts val="0"/>
                </a:spcAft>
                <a:buClrTx/>
                <a:buSzTx/>
                <a:buFontTx/>
                <a:buNone/>
                <a:tabLst/>
                <a:defRPr/>
              </a:pPr>
              <a:t>‹#›</a:t>
            </a:fld>
            <a:r>
              <a:rPr lang="fr-FR" sz="850">
                <a:solidFill>
                  <a:srgbClr val="6F7072"/>
                </a:solidFill>
                <a:cs typeface="Arial" panose="020B0604020202020204" pitchFamily="34" charset="0"/>
              </a:rPr>
              <a:t> | Webinaire Mon espace santé</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91909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Page article / Form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944586" y="716882"/>
            <a:ext cx="7042894"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3"/>
          <a:srcRect l="17688" t="14066" r="48632" b="19347"/>
          <a:stretch/>
        </p:blipFill>
        <p:spPr>
          <a:xfrm>
            <a:off x="10734675" y="202629"/>
            <a:ext cx="1325136" cy="819053"/>
          </a:xfrm>
          <a:prstGeom prst="rect">
            <a:avLst/>
          </a:prstGeom>
        </p:spPr>
      </p:pic>
      <p:pic>
        <p:nvPicPr>
          <p:cNvPr id="16" name="Image 15"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4"/>
          <a:stretch>
            <a:fillRect/>
          </a:stretch>
        </p:blipFill>
        <p:spPr>
          <a:xfrm>
            <a:off x="8494592" y="6076708"/>
            <a:ext cx="960105" cy="750481"/>
          </a:xfrm>
          <a:prstGeom prst="rect">
            <a:avLst/>
          </a:prstGeom>
        </p:spPr>
      </p:pic>
      <p:pic>
        <p:nvPicPr>
          <p:cNvPr id="17" name="Image 16">
            <a:extLst>
              <a:ext uri="{FF2B5EF4-FFF2-40B4-BE49-F238E27FC236}">
                <a16:creationId xmlns:a16="http://schemas.microsoft.com/office/drawing/2014/main" id="{810DAD4F-20FB-4F5E-84B2-7CECA99BD24F}"/>
              </a:ext>
            </a:extLst>
          </p:cNvPr>
          <p:cNvPicPr>
            <a:picLocks noChangeAspect="1"/>
          </p:cNvPicPr>
          <p:nvPr userDrawn="1"/>
        </p:nvPicPr>
        <p:blipFill rotWithShape="1">
          <a:blip r:embed="rId5"/>
          <a:srcRect t="24719" b="23896"/>
          <a:stretch/>
        </p:blipFill>
        <p:spPr>
          <a:xfrm>
            <a:off x="10800525" y="6076704"/>
            <a:ext cx="1330191" cy="513493"/>
          </a:xfrm>
          <a:prstGeom prst="rect">
            <a:avLst/>
          </a:prstGeom>
        </p:spPr>
      </p:pic>
      <p:pic>
        <p:nvPicPr>
          <p:cNvPr id="18" name="Image 17">
            <a:extLst>
              <a:ext uri="{FF2B5EF4-FFF2-40B4-BE49-F238E27FC236}">
                <a16:creationId xmlns:a16="http://schemas.microsoft.com/office/drawing/2014/main" id="{2243E6BC-6888-406A-B31F-4F493CFF85EF}"/>
              </a:ext>
            </a:extLst>
          </p:cNvPr>
          <p:cNvPicPr>
            <a:picLocks noChangeAspect="1"/>
          </p:cNvPicPr>
          <p:nvPr userDrawn="1"/>
        </p:nvPicPr>
        <p:blipFill>
          <a:blip r:embed="rId6"/>
          <a:stretch>
            <a:fillRect/>
          </a:stretch>
        </p:blipFill>
        <p:spPr>
          <a:xfrm>
            <a:off x="9504434" y="6161342"/>
            <a:ext cx="1330191" cy="479348"/>
          </a:xfrm>
          <a:prstGeom prst="rect">
            <a:avLst/>
          </a:prstGeom>
        </p:spPr>
      </p:pic>
      <p:sp>
        <p:nvSpPr>
          <p:cNvPr id="20" name="ZoneTexte 19">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cs typeface="Arial" panose="020B0604020202020204" pitchFamily="34" charset="0"/>
              </a:rPr>
              <a:pPr>
                <a:lnSpc>
                  <a:spcPts val="1100"/>
                </a:lnSpc>
              </a:pPr>
              <a:t>‹#›</a:t>
            </a:fld>
            <a:r>
              <a:rPr lang="fr-FR" sz="850">
                <a:solidFill>
                  <a:srgbClr val="6F7072"/>
                </a:solidFill>
                <a:cs typeface="Arial" panose="020B0604020202020204" pitchFamily="34" charset="0"/>
              </a:rPr>
              <a:t> | Webinaire Mon espace santé</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317665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age de Couverture B">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7553362B-0D70-3E42-82CA-BCD592F307A2}"/>
              </a:ext>
            </a:extLst>
          </p:cNvPr>
          <p:cNvPicPr>
            <a:picLocks noChangeAspect="1"/>
          </p:cNvPicPr>
          <p:nvPr userDrawn="1"/>
        </p:nvPicPr>
        <p:blipFill rotWithShape="1">
          <a:blip r:embed="rId2" cstate="email">
            <a:alphaModFix/>
            <a:extLst>
              <a:ext uri="{28A0092B-C50C-407E-A947-70E740481C1C}">
                <a14:useLocalDpi xmlns:a14="http://schemas.microsoft.com/office/drawing/2010/main"/>
              </a:ext>
            </a:extLst>
          </a:blip>
          <a:srcRect/>
          <a:stretch/>
        </p:blipFill>
        <p:spPr>
          <a:xfrm>
            <a:off x="0" y="1221194"/>
            <a:ext cx="4689523" cy="4969856"/>
          </a:xfrm>
          <a:prstGeom prst="rect">
            <a:avLst/>
          </a:prstGeom>
        </p:spPr>
      </p:pic>
      <p:pic>
        <p:nvPicPr>
          <p:cNvPr id="11" name="Image 10">
            <a:extLst>
              <a:ext uri="{FF2B5EF4-FFF2-40B4-BE49-F238E27FC236}">
                <a16:creationId xmlns:a16="http://schemas.microsoft.com/office/drawing/2014/main" id="{926D9EC8-3F89-D34C-BAA2-01906AE968A5}"/>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0" y="1673"/>
            <a:ext cx="12192000" cy="6854653"/>
          </a:xfrm>
          <a:prstGeom prst="rect">
            <a:avLst/>
          </a:prstGeom>
        </p:spPr>
      </p:pic>
      <p:sp>
        <p:nvSpPr>
          <p:cNvPr id="17" name="Titre 1">
            <a:extLst>
              <a:ext uri="{FF2B5EF4-FFF2-40B4-BE49-F238E27FC236}">
                <a16:creationId xmlns:a16="http://schemas.microsoft.com/office/drawing/2014/main" id="{F7EA1070-2372-EE42-9FD8-FFB4C6EC6C26}"/>
              </a:ext>
            </a:extLst>
          </p:cNvPr>
          <p:cNvSpPr>
            <a:spLocks noGrp="1"/>
          </p:cNvSpPr>
          <p:nvPr>
            <p:ph type="title" hasCustomPrompt="1"/>
          </p:nvPr>
        </p:nvSpPr>
        <p:spPr>
          <a:xfrm>
            <a:off x="4996991" y="2095594"/>
            <a:ext cx="6332521" cy="1462781"/>
          </a:xfrm>
        </p:spPr>
        <p:txBody>
          <a:bodyPr lIns="0" tIns="0" rIns="0" bIns="0" anchor="b">
            <a:normAutofit/>
          </a:bodyPr>
          <a:lstStyle>
            <a:lvl1pPr>
              <a:defRPr lang="fr-FR" sz="4800" b="1" kern="1200" dirty="0">
                <a:solidFill>
                  <a:schemeClr val="tx1"/>
                </a:solidFill>
                <a:latin typeface="Arial" panose="020B0604020202020204" pitchFamily="34" charset="0"/>
                <a:ea typeface="+mn-ea"/>
                <a:cs typeface="Arial" panose="020B0604020202020204" pitchFamily="34" charset="0"/>
              </a:defRPr>
            </a:lvl1pPr>
          </a:lstStyle>
          <a:p>
            <a:r>
              <a:rPr lang="fr-FR"/>
              <a:t>CLIQUEZ POUR </a:t>
            </a:r>
            <a:br>
              <a:rPr lang="fr-FR"/>
            </a:br>
            <a:r>
              <a:rPr lang="fr-FR"/>
              <a:t>AJOUTER UN TITRE</a:t>
            </a:r>
          </a:p>
        </p:txBody>
      </p:sp>
      <p:sp>
        <p:nvSpPr>
          <p:cNvPr id="18" name="Espace réservé du texte 2">
            <a:extLst>
              <a:ext uri="{FF2B5EF4-FFF2-40B4-BE49-F238E27FC236}">
                <a16:creationId xmlns:a16="http://schemas.microsoft.com/office/drawing/2014/main" id="{B85C5C3F-95A4-FA4C-BF63-04CCC7721639}"/>
              </a:ext>
            </a:extLst>
          </p:cNvPr>
          <p:cNvSpPr>
            <a:spLocks noGrp="1"/>
          </p:cNvSpPr>
          <p:nvPr>
            <p:ph type="body" idx="1" hasCustomPrompt="1"/>
          </p:nvPr>
        </p:nvSpPr>
        <p:spPr>
          <a:xfrm>
            <a:off x="4979988" y="3808740"/>
            <a:ext cx="2097315"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Date</a:t>
            </a:r>
          </a:p>
        </p:txBody>
      </p:sp>
      <p:sp>
        <p:nvSpPr>
          <p:cNvPr id="19" name="Espace réservé du texte 2">
            <a:extLst>
              <a:ext uri="{FF2B5EF4-FFF2-40B4-BE49-F238E27FC236}">
                <a16:creationId xmlns:a16="http://schemas.microsoft.com/office/drawing/2014/main" id="{59A5C752-6366-A642-B5BD-8498AEA0ED7D}"/>
              </a:ext>
            </a:extLst>
          </p:cNvPr>
          <p:cNvSpPr>
            <a:spLocks noGrp="1"/>
          </p:cNvSpPr>
          <p:nvPr>
            <p:ph type="body" idx="10" hasCustomPrompt="1"/>
          </p:nvPr>
        </p:nvSpPr>
        <p:spPr>
          <a:xfrm>
            <a:off x="4979987" y="4220932"/>
            <a:ext cx="6349525" cy="308562"/>
          </a:xfrm>
        </p:spPr>
        <p:txBody>
          <a:bodyPr lIns="0" tIns="0" rIns="0" bIns="0">
            <a:noAutofit/>
          </a:bodyPr>
          <a:lstStyle>
            <a:lvl1pPr marL="0" indent="0" algn="l" defTabSz="914400" rtl="0" eaLnBrk="1" latinLnBrk="0" hangingPunct="1">
              <a:lnSpc>
                <a:spcPts val="2400"/>
              </a:lnSpc>
              <a:buNone/>
              <a:defRPr lang="fr-FR" sz="1800"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ervice émetteur</a:t>
            </a:r>
          </a:p>
        </p:txBody>
      </p:sp>
      <p:pic>
        <p:nvPicPr>
          <p:cNvPr id="12" name="Image 11">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4"/>
          <a:srcRect l="17688" t="14066" r="48632" b="19347"/>
          <a:stretch/>
        </p:blipFill>
        <p:spPr>
          <a:xfrm>
            <a:off x="10734675" y="202629"/>
            <a:ext cx="1325136" cy="819053"/>
          </a:xfrm>
          <a:prstGeom prst="rect">
            <a:avLst/>
          </a:prstGeom>
        </p:spPr>
      </p:pic>
      <p:pic>
        <p:nvPicPr>
          <p:cNvPr id="14" name="Image 13"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5"/>
          <a:stretch>
            <a:fillRect/>
          </a:stretch>
        </p:blipFill>
        <p:spPr>
          <a:xfrm>
            <a:off x="8494592" y="6076708"/>
            <a:ext cx="960105" cy="750481"/>
          </a:xfrm>
          <a:prstGeom prst="rect">
            <a:avLst/>
          </a:prstGeom>
        </p:spPr>
      </p:pic>
      <p:pic>
        <p:nvPicPr>
          <p:cNvPr id="16" name="Image 15">
            <a:extLst>
              <a:ext uri="{FF2B5EF4-FFF2-40B4-BE49-F238E27FC236}">
                <a16:creationId xmlns:a16="http://schemas.microsoft.com/office/drawing/2014/main" id="{2243E6BC-6888-406A-B31F-4F493CFF85EF}"/>
              </a:ext>
            </a:extLst>
          </p:cNvPr>
          <p:cNvPicPr>
            <a:picLocks noChangeAspect="1"/>
          </p:cNvPicPr>
          <p:nvPr userDrawn="1"/>
        </p:nvPicPr>
        <p:blipFill>
          <a:blip r:embed="rId6"/>
          <a:stretch>
            <a:fillRect/>
          </a:stretch>
        </p:blipFill>
        <p:spPr>
          <a:xfrm>
            <a:off x="9504434" y="6161342"/>
            <a:ext cx="1330191" cy="479348"/>
          </a:xfrm>
          <a:prstGeom prst="rect">
            <a:avLst/>
          </a:prstGeom>
        </p:spPr>
      </p:pic>
      <p:pic>
        <p:nvPicPr>
          <p:cNvPr id="20" name="Image 19"/>
          <p:cNvPicPr>
            <a:picLocks noChangeAspect="1"/>
          </p:cNvPicPr>
          <p:nvPr userDrawn="1"/>
        </p:nvPicPr>
        <p:blipFill>
          <a:blip r:embed="rId7"/>
          <a:stretch>
            <a:fillRect/>
          </a:stretch>
        </p:blipFill>
        <p:spPr>
          <a:xfrm>
            <a:off x="10788858" y="6085944"/>
            <a:ext cx="1375434" cy="584830"/>
          </a:xfrm>
          <a:prstGeom prst="rect">
            <a:avLst/>
          </a:prstGeom>
        </p:spPr>
      </p:pic>
      <p:sp>
        <p:nvSpPr>
          <p:cNvPr id="15" name="ZoneTexte 14">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pPr>
                <a:lnSpc>
                  <a:spcPts val="1100"/>
                </a:lnSpc>
              </a:p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 </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4058360"/>
      </p:ext>
    </p:extLst>
  </p:cSld>
  <p:clrMapOvr>
    <a:masterClrMapping/>
  </p:clrMapOvr>
  <p:extLst>
    <p:ext uri="{DCECCB84-F9BA-43D5-87BE-67443E8EF086}">
      <p15:sldGuideLst xmlns:p15="http://schemas.microsoft.com/office/powerpoint/2012/main">
        <p15:guide id="1" orient="horz">
          <p15:clr>
            <a:srgbClr val="FBAE40"/>
          </p15:clr>
        </p15:guide>
        <p15:guide id="2" pos="7680">
          <p15:clr>
            <a:srgbClr val="FBAE40"/>
          </p15:clr>
        </p15:guide>
        <p15:guide id="3" pos="3137">
          <p15:clr>
            <a:srgbClr val="FBAE40"/>
          </p15:clr>
        </p15:guide>
        <p15:guide id="4" orient="horz" pos="225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age article / Fond de couleu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387B809-D44B-8844-B749-DB4C5E161C04}"/>
              </a:ext>
            </a:extLst>
          </p:cNvPr>
          <p:cNvSpPr/>
          <p:nvPr userDrawn="1"/>
        </p:nvSpPr>
        <p:spPr>
          <a:xfrm>
            <a:off x="0" y="0"/>
            <a:ext cx="12192000" cy="68580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9" name="Image 8">
            <a:extLst>
              <a:ext uri="{FF2B5EF4-FFF2-40B4-BE49-F238E27FC236}">
                <a16:creationId xmlns:a16="http://schemas.microsoft.com/office/drawing/2014/main" id="{3077B7F2-518F-0C4D-ADC0-E35D84B377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4"/>
            <a:ext cx="516648" cy="249990"/>
          </a:xfrm>
          <a:prstGeom prst="rect">
            <a:avLst/>
          </a:prstGeom>
        </p:spPr>
      </p:pic>
      <p:cxnSp>
        <p:nvCxnSpPr>
          <p:cNvPr id="10" name="Connecteur droit 9">
            <a:extLst>
              <a:ext uri="{FF2B5EF4-FFF2-40B4-BE49-F238E27FC236}">
                <a16:creationId xmlns:a16="http://schemas.microsoft.com/office/drawing/2014/main" id="{210377DD-3289-604B-9C0F-5601F30F8FB6}"/>
              </a:ext>
            </a:extLst>
          </p:cNvPr>
          <p:cNvCxnSpPr>
            <a:cxnSpLocks/>
          </p:cNvCxnSpPr>
          <p:nvPr userDrawn="1"/>
        </p:nvCxnSpPr>
        <p:spPr>
          <a:xfrm>
            <a:off x="476352" y="864175"/>
            <a:ext cx="3328827" cy="0"/>
          </a:xfrm>
          <a:prstGeom prst="line">
            <a:avLst/>
          </a:prstGeom>
          <a:ln>
            <a:solidFill>
              <a:schemeClr val="bg1"/>
            </a:solidFill>
            <a:tailEnd type="oval"/>
          </a:ln>
        </p:spPr>
        <p:style>
          <a:lnRef idx="1">
            <a:schemeClr val="accent1"/>
          </a:lnRef>
          <a:fillRef idx="0">
            <a:schemeClr val="accent1"/>
          </a:fillRef>
          <a:effectRef idx="0">
            <a:schemeClr val="accent1"/>
          </a:effectRef>
          <a:fontRef idx="minor">
            <a:schemeClr val="tx1"/>
          </a:fontRef>
        </p:style>
      </p:cxnSp>
      <p:sp>
        <p:nvSpPr>
          <p:cNvPr id="17" name="Espace réservé du texte 21">
            <a:extLst>
              <a:ext uri="{FF2B5EF4-FFF2-40B4-BE49-F238E27FC236}">
                <a16:creationId xmlns:a16="http://schemas.microsoft.com/office/drawing/2014/main" id="{15C01E2E-0ED0-8144-9636-5AB730252C59}"/>
              </a:ext>
            </a:extLst>
          </p:cNvPr>
          <p:cNvSpPr>
            <a:spLocks noGrp="1"/>
          </p:cNvSpPr>
          <p:nvPr>
            <p:ph type="body" sz="quarter" idx="10" hasCustomPrompt="1"/>
          </p:nvPr>
        </p:nvSpPr>
        <p:spPr>
          <a:xfrm>
            <a:off x="4028091" y="716882"/>
            <a:ext cx="4376241" cy="304800"/>
          </a:xfrm>
        </p:spPr>
        <p:txBody>
          <a:bodyPr>
            <a:noAutofit/>
          </a:bodyPr>
          <a:lstStyle>
            <a:lvl1pPr marL="0" indent="0" algn="l" defTabSz="914400" rtl="0" eaLnBrk="1" latinLnBrk="0" hangingPunct="1">
              <a:lnSpc>
                <a:spcPct val="90000"/>
              </a:lnSpc>
              <a:spcBef>
                <a:spcPct val="0"/>
              </a:spcBef>
              <a:buNone/>
              <a:defRPr lang="fr-FR" sz="1600" b="1" kern="1200" dirty="0">
                <a:solidFill>
                  <a:schemeClr val="bg1"/>
                </a:solidFill>
                <a:latin typeface="Arial" panose="020B0604020202020204" pitchFamily="34" charset="0"/>
                <a:ea typeface="+mj-ea"/>
                <a:cs typeface="Arial" panose="020B0604020202020204" pitchFamily="34" charset="0"/>
              </a:defRPr>
            </a:lvl1pPr>
          </a:lstStyle>
          <a:p>
            <a:r>
              <a:rPr lang="fr-FR"/>
              <a:t>Titre de la partie</a:t>
            </a:r>
          </a:p>
        </p:txBody>
      </p:sp>
      <p:sp>
        <p:nvSpPr>
          <p:cNvPr id="18" name="Titre 1">
            <a:extLst>
              <a:ext uri="{FF2B5EF4-FFF2-40B4-BE49-F238E27FC236}">
                <a16:creationId xmlns:a16="http://schemas.microsoft.com/office/drawing/2014/main" id="{455E882E-1CC8-3746-91B9-6550384D3AA1}"/>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bg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AAAD3E24-E7D5-D446-889E-9AE9897A0453}"/>
              </a:ext>
            </a:extLst>
          </p:cNvPr>
          <p:cNvSpPr>
            <a:spLocks noGrp="1"/>
          </p:cNvSpPr>
          <p:nvPr>
            <p:ph sz="half" idx="1" hasCustomPrompt="1"/>
          </p:nvPr>
        </p:nvSpPr>
        <p:spPr>
          <a:xfrm>
            <a:off x="470356" y="2376618"/>
            <a:ext cx="3717470" cy="3054491"/>
          </a:xfrm>
        </p:spPr>
        <p:txBody>
          <a:bodyPr lIns="0" tIns="0" rIns="0" bIns="0">
            <a:noAutofit/>
          </a:bodyPr>
          <a:lstStyle>
            <a:lvl1pPr marL="0" indent="0">
              <a:buNone/>
              <a:defRPr lang="fr-FR" sz="1400" kern="1200" dirty="0">
                <a:solidFill>
                  <a:schemeClr val="bg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a:t>
            </a:r>
          </a:p>
        </p:txBody>
      </p:sp>
      <p:sp>
        <p:nvSpPr>
          <p:cNvPr id="20" name="Espace réservé du contenu 2">
            <a:extLst>
              <a:ext uri="{FF2B5EF4-FFF2-40B4-BE49-F238E27FC236}">
                <a16:creationId xmlns:a16="http://schemas.microsoft.com/office/drawing/2014/main" id="{14E9B65D-0D9F-194C-972A-3B0CA3EAF311}"/>
              </a:ext>
            </a:extLst>
          </p:cNvPr>
          <p:cNvSpPr>
            <a:spLocks noGrp="1"/>
          </p:cNvSpPr>
          <p:nvPr>
            <p:ph sz="half" idx="11" hasCustomPrompt="1"/>
          </p:nvPr>
        </p:nvSpPr>
        <p:spPr>
          <a:xfrm>
            <a:off x="4502050" y="2376617"/>
            <a:ext cx="3717470" cy="3054491"/>
          </a:xfrm>
        </p:spPr>
        <p:txBody>
          <a:bodyPr lIns="0" tIns="0" rIns="0" bIns="0">
            <a:noAutofit/>
          </a:bodyPr>
          <a:lstStyle>
            <a:lvl1pPr marL="0" indent="0">
              <a:buNone/>
              <a:defRPr lang="fr-FR" sz="1400" kern="1200" dirty="0">
                <a:solidFill>
                  <a:schemeClr val="bg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Dolorepta</a:t>
            </a:r>
            <a:r>
              <a:rPr lang="fr-FR" sz="1400">
                <a:latin typeface="Arial" panose="020B0604020202020204" pitchFamily="34" charset="0"/>
                <a:cs typeface="Arial" panose="020B0604020202020204" pitchFamily="34" charset="0"/>
              </a:rPr>
              <a:t> con </a:t>
            </a:r>
            <a:r>
              <a:rPr lang="fr-FR" sz="1400" err="1">
                <a:latin typeface="Arial" panose="020B0604020202020204" pitchFamily="34" charset="0"/>
                <a:cs typeface="Arial" panose="020B0604020202020204" pitchFamily="34" charset="0"/>
              </a:rPr>
              <a:t>pel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i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nia</a:t>
            </a:r>
            <a:r>
              <a:rPr lang="fr-FR" sz="1400">
                <a:latin typeface="Arial" panose="020B0604020202020204" pitchFamily="34" charset="0"/>
                <a:cs typeface="Arial" panose="020B0604020202020204" pitchFamily="34" charset="0"/>
              </a:rPr>
              <a:t> nihil </a:t>
            </a:r>
            <a:r>
              <a:rPr lang="fr-FR" sz="1400" err="1">
                <a:latin typeface="Arial" panose="020B0604020202020204" pitchFamily="34" charset="0"/>
                <a:cs typeface="Arial" panose="020B0604020202020204" pitchFamily="34" charset="0"/>
              </a:rPr>
              <a:t>excea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upid</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nt</a:t>
            </a:r>
            <a:r>
              <a:rPr lang="fr-FR" sz="1400">
                <a:latin typeface="Arial" panose="020B0604020202020204" pitchFamily="34" charset="0"/>
                <a:cs typeface="Arial" panose="020B0604020202020204" pitchFamily="34" charset="0"/>
              </a:rPr>
              <a:t> la </a:t>
            </a:r>
            <a:r>
              <a:rPr lang="fr-FR" sz="1400" err="1">
                <a:latin typeface="Arial" panose="020B0604020202020204" pitchFamily="34" charset="0"/>
                <a:cs typeface="Arial" panose="020B0604020202020204" pitchFamily="34" charset="0"/>
              </a:rPr>
              <a:t>niss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mnitibus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unti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fug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aqu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ctemq</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ae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consequiat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lup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sit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a:t>
            </a:r>
          </a:p>
        </p:txBody>
      </p:sp>
      <p:pic>
        <p:nvPicPr>
          <p:cNvPr id="12" name="Image 11">
            <a:extLst>
              <a:ext uri="{FF2B5EF4-FFF2-40B4-BE49-F238E27FC236}">
                <a16:creationId xmlns:a16="http://schemas.microsoft.com/office/drawing/2014/main" id="{821A0440-FFCC-1843-BBF9-546D889DC4A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8627244" y="0"/>
            <a:ext cx="3564755" cy="6858000"/>
          </a:xfrm>
          <a:prstGeom prst="rect">
            <a:avLst/>
          </a:prstGeom>
        </p:spPr>
      </p:pic>
      <p:pic>
        <p:nvPicPr>
          <p:cNvPr id="13" name="Image 12">
            <a:extLst>
              <a:ext uri="{FF2B5EF4-FFF2-40B4-BE49-F238E27FC236}">
                <a16:creationId xmlns:a16="http://schemas.microsoft.com/office/drawing/2014/main" id="{7C3590B4-8BF7-7345-BCB4-C3E08B61BD45}"/>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r="10195" b="3950"/>
          <a:stretch/>
        </p:blipFill>
        <p:spPr>
          <a:xfrm>
            <a:off x="9142839" y="3060721"/>
            <a:ext cx="3049162" cy="3797280"/>
          </a:xfrm>
          <a:prstGeom prst="rect">
            <a:avLst/>
          </a:prstGeom>
        </p:spPr>
      </p:pic>
      <p:sp>
        <p:nvSpPr>
          <p:cNvPr id="15" name="ZoneTexte 14">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marL="0" marR="0" lvl="0" indent="0" algn="l" defTabSz="914400" rtl="0" eaLnBrk="1" fontAlgn="auto" latinLnBrk="0" hangingPunct="1">
              <a:lnSpc>
                <a:spcPts val="1100"/>
              </a:lnSpc>
              <a:spcBef>
                <a:spcPts val="0"/>
              </a:spcBef>
              <a:spcAft>
                <a:spcPts val="0"/>
              </a:spcAft>
              <a:buClrTx/>
              <a:buSzTx/>
              <a:buFontTx/>
              <a:buNone/>
              <a:tabLst/>
              <a:defRPr/>
            </a:pPr>
            <a:fld id="{942FCC0B-ED92-42D7-8A66-BF2DFC78E49D}" type="slidenum">
              <a:rPr lang="fr-FR" sz="850" smtClean="0">
                <a:solidFill>
                  <a:prstClr val="white"/>
                </a:solidFill>
                <a:cs typeface="Arial" panose="020B0604020202020204" pitchFamily="34" charset="0"/>
              </a:rPr>
              <a:pPr marL="0" marR="0" lvl="0" indent="0" algn="l" defTabSz="914400" rtl="0" eaLnBrk="1" fontAlgn="auto" latinLnBrk="0" hangingPunct="1">
                <a:lnSpc>
                  <a:spcPts val="1100"/>
                </a:lnSpc>
                <a:spcBef>
                  <a:spcPts val="0"/>
                </a:spcBef>
                <a:spcAft>
                  <a:spcPts val="0"/>
                </a:spcAft>
                <a:buClrTx/>
                <a:buSzTx/>
                <a:buFontTx/>
                <a:buNone/>
                <a:tabLst/>
                <a:defRPr/>
              </a:pPr>
              <a:t>‹#›</a:t>
            </a:fld>
            <a:r>
              <a:rPr lang="fr-FR" sz="850">
                <a:solidFill>
                  <a:prstClr val="white"/>
                </a:solidFill>
                <a:cs typeface="Arial" panose="020B0604020202020204" pitchFamily="34" charset="0"/>
              </a:rPr>
              <a:t> | Webinaire Mon espace santé</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9833392"/>
      </p:ext>
    </p:extLst>
  </p:cSld>
  <p:clrMapOvr>
    <a:masterClrMapping/>
  </p:clrMapOvr>
  <p:extLst>
    <p:ext uri="{DCECCB84-F9BA-43D5-87BE-67443E8EF086}">
      <p15:sldGuideLst xmlns:p15="http://schemas.microsoft.com/office/powerpoint/2012/main">
        <p15:guide id="1" orient="horz" pos="2160">
          <p15:clr>
            <a:srgbClr val="FBAE40"/>
          </p15:clr>
        </p15:guide>
        <p15:guide id="2" pos="5178">
          <p15:clr>
            <a:srgbClr val="FBAE40"/>
          </p15:clr>
        </p15:guide>
        <p15:guide id="3" pos="302">
          <p15:clr>
            <a:srgbClr val="FBAE40"/>
          </p15:clr>
        </p15:guide>
        <p15:guide id="4" pos="2842">
          <p15:clr>
            <a:srgbClr val="FBAE40"/>
          </p15:clr>
        </p15:guide>
        <p15:guide id="5" pos="2638">
          <p15:clr>
            <a:srgbClr val="FBAE40"/>
          </p15:clr>
        </p15:guide>
        <p15:guide id="6" pos="54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Intercalaire bleu">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A77CEFF-C9A5-B44E-8097-C6D8CE6F2932}"/>
              </a:ext>
            </a:extLst>
          </p:cNvPr>
          <p:cNvSpPr/>
          <p:nvPr userDrawn="1"/>
        </p:nvSpPr>
        <p:spPr>
          <a:xfrm>
            <a:off x="0" y="0"/>
            <a:ext cx="12192000" cy="6858000"/>
          </a:xfrm>
          <a:prstGeom prst="rect">
            <a:avLst/>
          </a:prstGeom>
          <a:solidFill>
            <a:srgbClr val="417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a:extLst>
              <a:ext uri="{FF2B5EF4-FFF2-40B4-BE49-F238E27FC236}">
                <a16:creationId xmlns:a16="http://schemas.microsoft.com/office/drawing/2014/main" id="{26B67394-3F03-0B41-9F23-F1019F87900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pic>
        <p:nvPicPr>
          <p:cNvPr id="11" name="Image 10">
            <a:extLst>
              <a:ext uri="{FF2B5EF4-FFF2-40B4-BE49-F238E27FC236}">
                <a16:creationId xmlns:a16="http://schemas.microsoft.com/office/drawing/2014/main" id="{58E3CCD0-EF97-8346-B301-6960F00C36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10299" r="9083" b="12517"/>
          <a:stretch/>
        </p:blipFill>
        <p:spPr>
          <a:xfrm>
            <a:off x="9994391" y="0"/>
            <a:ext cx="2197609" cy="6858000"/>
          </a:xfrm>
          <a:prstGeom prst="rect">
            <a:avLst/>
          </a:prstGeom>
        </p:spPr>
      </p:pic>
      <p:sp>
        <p:nvSpPr>
          <p:cNvPr id="12" name="Titre 1">
            <a:extLst>
              <a:ext uri="{FF2B5EF4-FFF2-40B4-BE49-F238E27FC236}">
                <a16:creationId xmlns:a16="http://schemas.microsoft.com/office/drawing/2014/main" id="{0415C11F-44AC-C24D-9D2F-6897A40205BB}"/>
              </a:ext>
            </a:extLst>
          </p:cNvPr>
          <p:cNvSpPr>
            <a:spLocks noGrp="1"/>
          </p:cNvSpPr>
          <p:nvPr>
            <p:ph type="title" hasCustomPrompt="1"/>
          </p:nvPr>
        </p:nvSpPr>
        <p:spPr>
          <a:xfrm>
            <a:off x="490831" y="2285599"/>
            <a:ext cx="6332521" cy="1462781"/>
          </a:xfrm>
        </p:spPr>
        <p:txBody>
          <a:bodyPr lIns="0" tIns="0" rIns="0" bIns="0" anchor="b">
            <a:normAutofit/>
          </a:bodyPr>
          <a:lstStyle>
            <a:lvl1pPr>
              <a:defRPr lang="fr-FR" sz="4800" b="1" kern="1200" dirty="0">
                <a:solidFill>
                  <a:schemeClr val="bg1"/>
                </a:solidFill>
                <a:latin typeface="Arial" panose="020B0604020202020204" pitchFamily="34" charset="0"/>
                <a:ea typeface="+mn-ea"/>
                <a:cs typeface="Arial" panose="020B0604020202020204" pitchFamily="34" charset="0"/>
              </a:defRPr>
            </a:lvl1pPr>
          </a:lstStyle>
          <a:p>
            <a:r>
              <a:rPr lang="fr-FR"/>
              <a:t>TITRE DE LA PARTIE</a:t>
            </a:r>
            <a:br>
              <a:rPr lang="fr-FR"/>
            </a:br>
            <a:r>
              <a:rPr lang="fr-FR"/>
              <a:t>(INTERCALAIRE)</a:t>
            </a:r>
          </a:p>
        </p:txBody>
      </p:sp>
      <p:sp>
        <p:nvSpPr>
          <p:cNvPr id="13" name="Espace réservé du texte 2">
            <a:extLst>
              <a:ext uri="{FF2B5EF4-FFF2-40B4-BE49-F238E27FC236}">
                <a16:creationId xmlns:a16="http://schemas.microsoft.com/office/drawing/2014/main" id="{A9ECA64F-AF84-DC4F-8A30-80E2309F5E02}"/>
              </a:ext>
            </a:extLst>
          </p:cNvPr>
          <p:cNvSpPr>
            <a:spLocks noGrp="1"/>
          </p:cNvSpPr>
          <p:nvPr>
            <p:ph type="body" idx="1" hasCustomPrompt="1"/>
          </p:nvPr>
        </p:nvSpPr>
        <p:spPr>
          <a:xfrm>
            <a:off x="473828" y="3998745"/>
            <a:ext cx="4294640"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bg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ous-titre</a:t>
            </a:r>
          </a:p>
        </p:txBody>
      </p:sp>
      <p:sp>
        <p:nvSpPr>
          <p:cNvPr id="10" name="ZoneTexte 9">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prstClr val="white"/>
                </a:solidFill>
                <a:cs typeface="Arial" panose="020B0604020202020204" pitchFamily="34" charset="0"/>
              </a:rPr>
              <a:pPr>
                <a:lnSpc>
                  <a:spcPts val="1100"/>
                </a:lnSpc>
              </a:pPr>
              <a:t>‹#›</a:t>
            </a:fld>
            <a:r>
              <a:rPr lang="fr-FR" sz="850">
                <a:solidFill>
                  <a:prstClr val="white"/>
                </a:solidFill>
                <a:cs typeface="Arial" panose="020B0604020202020204" pitchFamily="34" charset="0"/>
              </a:rPr>
              <a:t> | Webinaire Mon espace santé / 24 mai 2022</a:t>
            </a:r>
          </a:p>
        </p:txBody>
      </p:sp>
    </p:spTree>
    <p:extLst>
      <p:ext uri="{BB962C8B-B14F-4D97-AF65-F5344CB8AC3E}">
        <p14:creationId xmlns:p14="http://schemas.microsoft.com/office/powerpoint/2010/main" val="21750285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Quatrième de couvertu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6B86459-0ECC-FE46-A5ED-095A3C2CE23B}"/>
              </a:ext>
            </a:extLst>
          </p:cNvPr>
          <p:cNvSpPr/>
          <p:nvPr userDrawn="1"/>
        </p:nvSpPr>
        <p:spPr>
          <a:xfrm>
            <a:off x="0" y="1"/>
            <a:ext cx="12192000" cy="6858000"/>
          </a:xfrm>
          <a:prstGeom prst="rect">
            <a:avLst/>
          </a:prstGeom>
          <a:solidFill>
            <a:srgbClr val="4171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7" name="Image 6">
            <a:extLst>
              <a:ext uri="{FF2B5EF4-FFF2-40B4-BE49-F238E27FC236}">
                <a16:creationId xmlns:a16="http://schemas.microsoft.com/office/drawing/2014/main" id="{0A582367-B3E4-2F49-AEBE-A3771D26079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13116" b="2943"/>
          <a:stretch/>
        </p:blipFill>
        <p:spPr>
          <a:xfrm>
            <a:off x="8557495" y="2130553"/>
            <a:ext cx="3634505" cy="4727448"/>
          </a:xfrm>
          <a:prstGeom prst="rect">
            <a:avLst/>
          </a:prstGeom>
        </p:spPr>
      </p:pic>
      <p:pic>
        <p:nvPicPr>
          <p:cNvPr id="8" name="Image 7">
            <a:extLst>
              <a:ext uri="{FF2B5EF4-FFF2-40B4-BE49-F238E27FC236}">
                <a16:creationId xmlns:a16="http://schemas.microsoft.com/office/drawing/2014/main" id="{34B5F1ED-9668-E245-B33D-ED180A6884B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sp>
        <p:nvSpPr>
          <p:cNvPr id="9" name="ZoneTexte 8">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prstClr val="white"/>
                </a:solidFill>
                <a:cs typeface="Arial" panose="020B0604020202020204" pitchFamily="34" charset="0"/>
              </a:rPr>
              <a:pPr>
                <a:lnSpc>
                  <a:spcPts val="1100"/>
                </a:lnSpc>
              </a:pPr>
              <a:t>‹#›</a:t>
            </a:fld>
            <a:r>
              <a:rPr lang="fr-FR" sz="850">
                <a:solidFill>
                  <a:prstClr val="white"/>
                </a:solidFill>
                <a:cs typeface="Arial" panose="020B0604020202020204" pitchFamily="34" charset="0"/>
              </a:rPr>
              <a:t> | Webinaire Mon espace santé</a:t>
            </a:r>
          </a:p>
        </p:txBody>
      </p:sp>
    </p:spTree>
    <p:extLst>
      <p:ext uri="{BB962C8B-B14F-4D97-AF65-F5344CB8AC3E}">
        <p14:creationId xmlns:p14="http://schemas.microsoft.com/office/powerpoint/2010/main" val="40320836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409972891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55C7C252-005F-3D99-5091-D704C908F2C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1" name="Diapositive think-cell" r:id="rId7" imgW="360" imgH="360" progId="TCLayout.ActiveDocument.1">
                  <p:embed/>
                </p:oleObj>
              </mc:Choice>
              <mc:Fallback>
                <p:oleObj name="Diapositive think-cell" r:id="rId7" imgW="360" imgH="360" progId="TCLayout.ActiveDocument.1">
                  <p:embed/>
                  <p:pic>
                    <p:nvPicPr>
                      <p:cNvPr id="2" name="Object 6" hidden="1">
                        <a:extLst>
                          <a:ext uri="{FF2B5EF4-FFF2-40B4-BE49-F238E27FC236}">
                            <a16:creationId xmlns:a16="http://schemas.microsoft.com/office/drawing/2014/main" id="{55C7C252-005F-3D99-5091-D704C908F2C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1" hidden="1">
            <a:extLst>
              <a:ext uri="{FF2B5EF4-FFF2-40B4-BE49-F238E27FC236}">
                <a16:creationId xmlns:a16="http://schemas.microsoft.com/office/drawing/2014/main" id="{6D39C315-2B66-87C8-0F4F-6084532FCB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300"/>
              </a:spcBef>
              <a:spcAft>
                <a:spcPts val="300"/>
              </a:spcAft>
              <a:defRPr/>
            </a:pPr>
            <a:endParaRPr lang="fr-FR" sz="2500" b="1">
              <a:solidFill>
                <a:schemeClr val="bg1"/>
              </a:solidFill>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DA7AE06E-D36E-9F5F-DF2A-0A452B6029E8}"/>
              </a:ext>
            </a:extLst>
          </p:cNvPr>
          <p:cNvSpPr>
            <a:spLocks noChangeArrowheads="1"/>
          </p:cNvSpPr>
          <p:nvPr userDrawn="1">
            <p:custDataLst>
              <p:tags r:id="rId4"/>
            </p:custDataLst>
          </p:nvPr>
        </p:nvSpPr>
        <p:spPr bwMode="black">
          <a:xfrm>
            <a:off x="11312525" y="6513513"/>
            <a:ext cx="422275" cy="203200"/>
          </a:xfrm>
          <a:prstGeom prst="rect">
            <a:avLst/>
          </a:prstGeom>
          <a:noFill/>
          <a:ln>
            <a:noFill/>
          </a:ln>
        </p:spPr>
        <p:txBody>
          <a:bodyPr lIns="0" tIns="0" rIns="0" bIns="0" anchor="b"/>
          <a:lstStyle>
            <a:lvl1pPr defTabSz="609600">
              <a:defRPr>
                <a:solidFill>
                  <a:schemeClr val="tx1"/>
                </a:solidFill>
                <a:latin typeface="Arial" panose="020B0604020202020204" pitchFamily="34" charset="0"/>
              </a:defRPr>
            </a:lvl1pPr>
            <a:lvl2pPr marL="742950" indent="-285750" defTabSz="609600">
              <a:defRPr>
                <a:solidFill>
                  <a:schemeClr val="tx1"/>
                </a:solidFill>
                <a:latin typeface="Arial" panose="020B0604020202020204" pitchFamily="34" charset="0"/>
              </a:defRPr>
            </a:lvl2pPr>
            <a:lvl3pPr marL="1143000" indent="-228600" defTabSz="609600">
              <a:defRPr>
                <a:solidFill>
                  <a:schemeClr val="tx1"/>
                </a:solidFill>
                <a:latin typeface="Arial" panose="020B0604020202020204" pitchFamily="34" charset="0"/>
              </a:defRPr>
            </a:lvl3pPr>
            <a:lvl4pPr marL="1600200" indent="-228600" defTabSz="609600">
              <a:defRPr>
                <a:solidFill>
                  <a:schemeClr val="tx1"/>
                </a:solidFill>
                <a:latin typeface="Arial" panose="020B0604020202020204" pitchFamily="34" charset="0"/>
              </a:defRPr>
            </a:lvl4pPr>
            <a:lvl5pPr marL="2057400" indent="-228600" defTabSz="609600">
              <a:defRPr>
                <a:solidFill>
                  <a:schemeClr val="tx1"/>
                </a:solidFill>
                <a:latin typeface="Arial" panose="020B0604020202020204" pitchFamily="34" charset="0"/>
              </a:defRPr>
            </a:lvl5pPr>
            <a:lvl6pPr marL="2514600" indent="-228600" defTabSz="609600" eaLnBrk="0" fontAlgn="base" hangingPunct="0">
              <a:spcBef>
                <a:spcPct val="0"/>
              </a:spcBef>
              <a:spcAft>
                <a:spcPct val="0"/>
              </a:spcAft>
              <a:defRPr>
                <a:solidFill>
                  <a:schemeClr val="tx1"/>
                </a:solidFill>
                <a:latin typeface="Arial" panose="020B0604020202020204" pitchFamily="34" charset="0"/>
              </a:defRPr>
            </a:lvl6pPr>
            <a:lvl7pPr marL="2971800" indent="-228600" defTabSz="609600" eaLnBrk="0" fontAlgn="base" hangingPunct="0">
              <a:spcBef>
                <a:spcPct val="0"/>
              </a:spcBef>
              <a:spcAft>
                <a:spcPct val="0"/>
              </a:spcAft>
              <a:defRPr>
                <a:solidFill>
                  <a:schemeClr val="tx1"/>
                </a:solidFill>
                <a:latin typeface="Arial" panose="020B0604020202020204" pitchFamily="34" charset="0"/>
              </a:defRPr>
            </a:lvl7pPr>
            <a:lvl8pPr marL="3429000" indent="-228600" defTabSz="609600" eaLnBrk="0" fontAlgn="base" hangingPunct="0">
              <a:spcBef>
                <a:spcPct val="0"/>
              </a:spcBef>
              <a:spcAft>
                <a:spcPct val="0"/>
              </a:spcAft>
              <a:defRPr>
                <a:solidFill>
                  <a:schemeClr val="tx1"/>
                </a:solidFill>
                <a:latin typeface="Arial" panose="020B0604020202020204" pitchFamily="34" charset="0"/>
              </a:defRPr>
            </a:lvl8pPr>
            <a:lvl9pPr marL="3886200" indent="-228600" defTabSz="609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defRPr/>
            </a:pPr>
            <a:fld id="{76C037E3-2CF3-4C45-8659-339C0B8FFA9A}" type="slidenum">
              <a:rPr lang="fr-FR" altLang="fr-FR" sz="900" smtClean="0">
                <a:solidFill>
                  <a:schemeClr val="accent1"/>
                </a:solidFill>
                <a:cs typeface="Arial" panose="020B0604020202020204" pitchFamily="34" charset="0"/>
              </a:rPr>
              <a:pPr algn="r" eaLnBrk="1" hangingPunct="1">
                <a:defRPr/>
              </a:pPr>
              <a:t>‹#›</a:t>
            </a:fld>
            <a:endParaRPr lang="fr-FR" altLang="fr-FR" sz="900">
              <a:solidFill>
                <a:schemeClr val="accent1"/>
              </a:solidFill>
              <a:cs typeface="Arial" panose="020B0604020202020204" pitchFamily="34" charset="0"/>
            </a:endParaRPr>
          </a:p>
        </p:txBody>
      </p:sp>
      <p:sp>
        <p:nvSpPr>
          <p:cNvPr id="5" name="5. Source" hidden="1">
            <a:extLst>
              <a:ext uri="{FF2B5EF4-FFF2-40B4-BE49-F238E27FC236}">
                <a16:creationId xmlns:a16="http://schemas.microsoft.com/office/drawing/2014/main" id="{CA65D72A-03D5-0390-FB44-ADA2CF6AFB3C}"/>
              </a:ext>
            </a:extLst>
          </p:cNvPr>
          <p:cNvSpPr txBox="1"/>
          <p:nvPr userDrawn="1">
            <p:custDataLst>
              <p:tags r:id="rId5"/>
            </p:custDataLst>
          </p:nvPr>
        </p:nvSpPr>
        <p:spPr>
          <a:xfrm>
            <a:off x="554038" y="6513513"/>
            <a:ext cx="7278687" cy="123825"/>
          </a:xfrm>
          <a:prstGeom prst="rect">
            <a:avLst/>
          </a:prstGeom>
          <a:noFill/>
          <a:ln/>
        </p:spPr>
        <p:txBody>
          <a:bodyPr lIns="0" tIns="0" rIns="0" bIns="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eaLnBrk="1" fontAlgn="auto" hangingPunct="1">
              <a:defRPr/>
            </a:pPr>
            <a:r>
              <a:rPr lang="fr-FR">
                <a:latin typeface="+mn-lt"/>
              </a:rPr>
              <a:t>Source: …</a:t>
            </a:r>
          </a:p>
        </p:txBody>
      </p:sp>
      <p:cxnSp>
        <p:nvCxnSpPr>
          <p:cNvPr id="6" name="Straight Connector 19">
            <a:extLst>
              <a:ext uri="{FF2B5EF4-FFF2-40B4-BE49-F238E27FC236}">
                <a16:creationId xmlns:a16="http://schemas.microsoft.com/office/drawing/2014/main" id="{D5074DB8-3A9F-1D4A-4658-DC0029DC508C}"/>
              </a:ext>
            </a:extLst>
          </p:cNvPr>
          <p:cNvCxnSpPr>
            <a:cxnSpLocks/>
          </p:cNvCxnSpPr>
          <p:nvPr userDrawn="1"/>
        </p:nvCxnSpPr>
        <p:spPr>
          <a:xfrm flipH="1">
            <a:off x="11312525" y="6503988"/>
            <a:ext cx="325438"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7" name="Picture 12" descr="Logo&#10;&#10;Description automatically generated">
            <a:extLst>
              <a:ext uri="{FF2B5EF4-FFF2-40B4-BE49-F238E27FC236}">
                <a16:creationId xmlns:a16="http://schemas.microsoft.com/office/drawing/2014/main" id="{AFBCEF48-4D24-7AA7-BB4C-15EB30C6F58F}"/>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06100" y="217488"/>
            <a:ext cx="660400" cy="66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a:extLst>
              <a:ext uri="{FF2B5EF4-FFF2-40B4-BE49-F238E27FC236}">
                <a16:creationId xmlns:a16="http://schemas.microsoft.com/office/drawing/2014/main" id="{F9B79325-1543-CCFD-881A-F446059F2EC0}"/>
              </a:ext>
            </a:extLst>
          </p:cNvPr>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512550" y="220663"/>
            <a:ext cx="434975"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2. Slide Title"/>
          <p:cNvSpPr>
            <a:spLocks noGrp="1"/>
          </p:cNvSpPr>
          <p:nvPr>
            <p:ph type="title"/>
          </p:nvPr>
        </p:nvSpPr>
        <p:spPr>
          <a:xfrm>
            <a:off x="554737" y="315897"/>
            <a:ext cx="9427463" cy="568786"/>
          </a:xfrm>
        </p:spPr>
        <p:txBody>
          <a:bodyPr rtlCol="0">
            <a:noAutofit/>
          </a:bodyPr>
          <a:lstStyle>
            <a:lvl1pPr>
              <a:defRPr lang="fr-FR" dirty="0">
                <a:solidFill>
                  <a:srgbClr val="293173"/>
                </a:solidFill>
              </a:defRPr>
            </a:lvl1pPr>
          </a:lstStyle>
          <a:p>
            <a:pPr lvl="0"/>
            <a:r>
              <a:rPr lang="en-US"/>
              <a:t>Click to edit Master title style</a:t>
            </a:r>
            <a:endParaRPr lang="fr-FR"/>
          </a:p>
        </p:txBody>
      </p:sp>
      <p:sp>
        <p:nvSpPr>
          <p:cNvPr id="14" name="3. Subtitle"/>
          <p:cNvSpPr>
            <a:spLocks noGrp="1"/>
          </p:cNvSpPr>
          <p:nvPr>
            <p:ph type="subTitle" idx="1"/>
          </p:nvPr>
        </p:nvSpPr>
        <p:spPr>
          <a:xfrm>
            <a:off x="554737" y="957798"/>
            <a:ext cx="9427463" cy="350116"/>
          </a:xfrm>
          <a:prstGeom prst="rect">
            <a:avLst/>
          </a:prstGeom>
        </p:spPr>
        <p:txBody>
          <a:bodyPr rtlCol="0">
            <a:noAutofit/>
          </a:bodyPr>
          <a:lstStyle>
            <a:lvl1pPr>
              <a:defRPr lang="fr-FR" sz="1800" b="0" dirty="0"/>
            </a:lvl1pPr>
          </a:lstStyle>
          <a:p>
            <a:pPr lvl="0"/>
            <a:r>
              <a:rPr lang="en-US"/>
              <a:t>Click to edit Master subtitle style</a:t>
            </a:r>
            <a:endParaRPr lang="fr-FR"/>
          </a:p>
        </p:txBody>
      </p:sp>
    </p:spTree>
    <p:extLst>
      <p:ext uri="{BB962C8B-B14F-4D97-AF65-F5344CB8AC3E}">
        <p14:creationId xmlns:p14="http://schemas.microsoft.com/office/powerpoint/2010/main" val="15608606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253"/>
          <a:stretch/>
        </p:blipFill>
        <p:spPr>
          <a:xfrm>
            <a:off x="0" y="3748"/>
            <a:ext cx="12192001" cy="5603145"/>
          </a:xfrm>
          <a:prstGeom prst="rect">
            <a:avLst/>
          </a:prstGeom>
          <a:ln w="12700">
            <a:miter lim="400000"/>
          </a:ln>
        </p:spPr>
      </p:pic>
      <p:sp>
        <p:nvSpPr>
          <p:cNvPr id="19" name="Titre de la présentation"/>
          <p:cNvSpPr txBox="1">
            <a:spLocks noGrp="1"/>
          </p:cNvSpPr>
          <p:nvPr>
            <p:ph type="title" hasCustomPrompt="1"/>
          </p:nvPr>
        </p:nvSpPr>
        <p:spPr>
          <a:xfrm>
            <a:off x="850898" y="4535186"/>
            <a:ext cx="6761760" cy="831762"/>
          </a:xfrm>
          <a:prstGeom prst="rect">
            <a:avLst/>
          </a:prstGeom>
        </p:spPr>
        <p:txBody>
          <a:bodyPr anchor="t"/>
          <a:lstStyle>
            <a:lvl1pPr>
              <a:defRPr sz="3000" cap="all" spc="-60"/>
            </a:lvl1pPr>
          </a:lstStyle>
          <a:p>
            <a:r>
              <a:t>Titre de la présentation</a:t>
            </a:r>
          </a:p>
        </p:txBody>
      </p:sp>
      <p:pic>
        <p:nvPicPr>
          <p:cNvPr id="20" name="Logo-ReMES.png" descr="Logo-ReMES.png"/>
          <p:cNvPicPr>
            <a:picLocks noChangeAspect="1"/>
          </p:cNvPicPr>
          <p:nvPr/>
        </p:nvPicPr>
        <p:blipFill>
          <a:blip r:embed="rId3"/>
          <a:stretch>
            <a:fillRect/>
          </a:stretch>
        </p:blipFill>
        <p:spPr>
          <a:xfrm>
            <a:off x="4528272" y="363758"/>
            <a:ext cx="3135456" cy="3392461"/>
          </a:xfrm>
          <a:prstGeom prst="rect">
            <a:avLst/>
          </a:prstGeom>
          <a:ln w="12700">
            <a:miter lim="400000"/>
          </a:ln>
        </p:spPr>
      </p:pic>
      <p:sp>
        <p:nvSpPr>
          <p:cNvPr id="21" name="Ligne"/>
          <p:cNvSpPr/>
          <p:nvPr/>
        </p:nvSpPr>
        <p:spPr>
          <a:xfrm>
            <a:off x="843137" y="4449887"/>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39428" y="4449887"/>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807602" y="4092141"/>
            <a:ext cx="2880597" cy="302647"/>
          </a:xfrm>
          <a:prstGeom prst="rect">
            <a:avLst/>
          </a:prstGeom>
        </p:spPr>
        <p:txBody>
          <a:bodyPr wrap="none" anchor="ctr">
            <a:spAutoFit/>
          </a:bodyPr>
          <a:lstStyle>
            <a:lvl1pPr algn="ctr" defTabSz="1219169">
              <a:defRPr sz="1300" cap="all"/>
            </a:lvl1pPr>
          </a:lstStyle>
          <a:p>
            <a:r>
              <a:t>Sur titre de la présentation</a:t>
            </a: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a:t>
            </a:fld>
            <a:endParaRPr/>
          </a:p>
        </p:txBody>
      </p:sp>
      <p:sp>
        <p:nvSpPr>
          <p:cNvPr id="13" name="Auteur et date">
            <a:extLst>
              <a:ext uri="{FF2B5EF4-FFF2-40B4-BE49-F238E27FC236}">
                <a16:creationId xmlns:a16="http://schemas.microsoft.com/office/drawing/2014/main" id="{C0145E43-6943-BC44-8613-59CBD5A58BCA}"/>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3257555805"/>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sp>
        <p:nvSpPr>
          <p:cNvPr id="24" name="Numéro de diapositive"/>
          <p:cNvSpPr txBox="1">
            <a:spLocks noGrp="1"/>
          </p:cNvSpPr>
          <p:nvPr>
            <p:ph type="sldNum" sz="quarter" idx="2"/>
          </p:nvPr>
        </p:nvSpPr>
        <p:spPr>
          <a:xfrm>
            <a:off x="11626850" y="6344103"/>
            <a:ext cx="293350" cy="241092"/>
          </a:xfrm>
          <a:prstGeom prst="rect">
            <a:avLst/>
          </a:prstGeom>
        </p:spPr>
        <p:txBody>
          <a:bodyPr/>
          <a:lstStyle>
            <a:lvl1pPr>
              <a:defRPr>
                <a:latin typeface="+mn-lt"/>
                <a:ea typeface="+mn-ea"/>
                <a:cs typeface="+mn-cs"/>
                <a:sym typeface="Helvetica Neue"/>
              </a:defRPr>
            </a:lvl1pPr>
          </a:lstStyle>
          <a:p>
            <a:fld id="{86CB4B4D-7CA3-9044-876B-883B54F8677D}" type="slidenum">
              <a:t>‹#›</a:t>
            </a:fld>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sp>
        <p:nvSpPr>
          <p:cNvPr id="12" name="Auteur et date">
            <a:extLst>
              <a:ext uri="{FF2B5EF4-FFF2-40B4-BE49-F238E27FC236}">
                <a16:creationId xmlns:a16="http://schemas.microsoft.com/office/drawing/2014/main" id="{2B859A87-B1E0-4044-8157-E71691372C06}"/>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pic>
        <p:nvPicPr>
          <p:cNvPr id="15" name="Image 14">
            <a:extLst>
              <a:ext uri="{FF2B5EF4-FFF2-40B4-BE49-F238E27FC236}">
                <a16:creationId xmlns:a16="http://schemas.microsoft.com/office/drawing/2014/main" id="{2243E6BC-6888-406A-B31F-4F493CFF85EF}"/>
              </a:ext>
            </a:extLst>
          </p:cNvPr>
          <p:cNvPicPr>
            <a:picLocks noChangeAspect="1"/>
          </p:cNvPicPr>
          <p:nvPr userDrawn="1"/>
        </p:nvPicPr>
        <p:blipFill>
          <a:blip r:embed="rId4"/>
          <a:stretch>
            <a:fillRect/>
          </a:stretch>
        </p:blipFill>
        <p:spPr>
          <a:xfrm>
            <a:off x="1524791" y="6250648"/>
            <a:ext cx="1186973" cy="427738"/>
          </a:xfrm>
          <a:prstGeom prst="rect">
            <a:avLst/>
          </a:prstGeom>
        </p:spPr>
      </p:pic>
      <p:pic>
        <p:nvPicPr>
          <p:cNvPr id="16" name="Image 15"/>
          <p:cNvPicPr>
            <a:picLocks noChangeAspect="1"/>
          </p:cNvPicPr>
          <p:nvPr userDrawn="1"/>
        </p:nvPicPr>
        <p:blipFill>
          <a:blip r:embed="rId5"/>
          <a:stretch>
            <a:fillRect/>
          </a:stretch>
        </p:blipFill>
        <p:spPr>
          <a:xfrm>
            <a:off x="2780862" y="6180715"/>
            <a:ext cx="1375434" cy="584830"/>
          </a:xfrm>
          <a:prstGeom prst="rect">
            <a:avLst/>
          </a:prstGeom>
        </p:spPr>
      </p:pic>
      <p:pic>
        <p:nvPicPr>
          <p:cNvPr id="18"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55787" y="6179720"/>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596958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16BC40A0-2206-B240-9C54-6D424BB136AB}"/>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32" name="Numéro de diapositive"/>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33" name="Titre du chapitre"/>
          <p:cNvSpPr txBox="1">
            <a:spLocks noGrp="1"/>
          </p:cNvSpPr>
          <p:nvPr>
            <p:ph type="body" sz="quarter" idx="22" hasCustomPrompt="1"/>
          </p:nvPr>
        </p:nvSpPr>
        <p:spPr>
          <a:xfrm>
            <a:off x="3450165" y="3390139"/>
            <a:ext cx="6761760" cy="1263055"/>
          </a:xfrm>
          <a:prstGeom prst="rect">
            <a:avLst/>
          </a:prstGeom>
        </p:spPr>
        <p:txBody>
          <a:bodyPr anchor="b"/>
          <a:lstStyle>
            <a:lvl1pPr defTabSz="1219169">
              <a:lnSpc>
                <a:spcPct val="80000"/>
              </a:lnSpc>
              <a:defRPr sz="3000" cap="all" spc="-60">
                <a:solidFill>
                  <a:srgbClr val="005C9B"/>
                </a:solidFill>
              </a:defRPr>
            </a:lvl1pPr>
          </a:lstStyle>
          <a:p>
            <a:r>
              <a:t>TITRE CHAPITRE</a:t>
            </a:r>
          </a:p>
        </p:txBody>
      </p:sp>
    </p:spTree>
    <p:extLst>
      <p:ext uri="{BB962C8B-B14F-4D97-AF65-F5344CB8AC3E}">
        <p14:creationId xmlns:p14="http://schemas.microsoft.com/office/powerpoint/2010/main" val="2379281328"/>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hapitre">
    <p:spTree>
      <p:nvGrpSpPr>
        <p:cNvPr id="1" name=""/>
        <p:cNvGrpSpPr/>
        <p:nvPr/>
      </p:nvGrpSpPr>
      <p:grpSpPr>
        <a:xfrm>
          <a:off x="0" y="0"/>
          <a:ext cx="0" cy="0"/>
          <a:chOff x="0" y="0"/>
          <a:chExt cx="0" cy="0"/>
        </a:xfrm>
      </p:grpSpPr>
      <p:sp>
        <p:nvSpPr>
          <p:cNvPr id="32" name="Numéro de diapositive"/>
          <p:cNvSpPr txBox="1">
            <a:spLocks noGrp="1"/>
          </p:cNvSpPr>
          <p:nvPr>
            <p:ph type="sldNum" sz="quarter" idx="2"/>
          </p:nvPr>
        </p:nvSpPr>
        <p:spPr>
          <a:prstGeom prst="rect">
            <a:avLst/>
          </a:prstGeom>
        </p:spPr>
        <p:txBody>
          <a:bodyPr/>
          <a:lstStyle/>
          <a:p>
            <a:fld id="{86CB4B4D-7CA3-9044-876B-883B54F8677D}" type="slidenum">
              <a:t>‹#›</a:t>
            </a:fld>
            <a:endParaRPr/>
          </a:p>
        </p:txBody>
      </p:sp>
      <p:pic>
        <p:nvPicPr>
          <p:cNvPr id="9" name="Image 8">
            <a:extLst>
              <a:ext uri="{FF2B5EF4-FFF2-40B4-BE49-F238E27FC236}">
                <a16:creationId xmlns:a16="http://schemas.microsoft.com/office/drawing/2014/main" id="{6690657A-EA41-284A-B4C4-EFC9AFD722AF}"/>
              </a:ext>
            </a:extLst>
          </p:cNvPr>
          <p:cNvPicPr>
            <a:picLocks noChangeAspect="1"/>
          </p:cNvPicPr>
          <p:nvPr userDrawn="1"/>
        </p:nvPicPr>
        <p:blipFill rotWithShape="1">
          <a:blip r:embed="rId2"/>
          <a:srcRect b="26788"/>
          <a:stretch/>
        </p:blipFill>
        <p:spPr>
          <a:xfrm>
            <a:off x="-1" y="-1"/>
            <a:ext cx="12192001" cy="6195060"/>
          </a:xfrm>
          <a:prstGeom prst="rect">
            <a:avLst/>
          </a:prstGeom>
        </p:spPr>
      </p:pic>
    </p:spTree>
    <p:extLst>
      <p:ext uri="{BB962C8B-B14F-4D97-AF65-F5344CB8AC3E}">
        <p14:creationId xmlns:p14="http://schemas.microsoft.com/office/powerpoint/2010/main" val="626340572"/>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7_Titre et puces">
    <p:spTree>
      <p:nvGrpSpPr>
        <p:cNvPr id="1" name=""/>
        <p:cNvGrpSpPr/>
        <p:nvPr/>
      </p:nvGrpSpPr>
      <p:grpSpPr>
        <a:xfrm>
          <a:off x="0" y="0"/>
          <a:ext cx="0" cy="0"/>
          <a:chOff x="0" y="0"/>
          <a:chExt cx="0" cy="0"/>
        </a:xfrm>
      </p:grpSpPr>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
        <p:nvSpPr>
          <p:cNvPr id="4" name="Title 3">
            <a:extLst>
              <a:ext uri="{FF2B5EF4-FFF2-40B4-BE49-F238E27FC236}">
                <a16:creationId xmlns:a16="http://schemas.microsoft.com/office/drawing/2014/main" id="{7B008386-3309-413E-88CE-C2AD9AB236FA}"/>
              </a:ext>
            </a:extLst>
          </p:cNvPr>
          <p:cNvSpPr>
            <a:spLocks noGrp="1"/>
          </p:cNvSpPr>
          <p:nvPr>
            <p:ph type="title"/>
          </p:nvPr>
        </p:nvSpPr>
        <p:spPr>
          <a:xfrm>
            <a:off x="255599" y="255600"/>
            <a:ext cx="11242266" cy="644908"/>
          </a:xfrm>
        </p:spPr>
        <p:txBody>
          <a:bodyPr anchor="ctr">
            <a:normAutofit/>
          </a:bodyPr>
          <a:lstStyle>
            <a:lvl1pPr>
              <a:defRPr sz="2800"/>
            </a:lvl1pPr>
          </a:lstStyle>
          <a:p>
            <a:r>
              <a:rPr lang="en-US"/>
              <a:t>Click to edit Master title style</a:t>
            </a:r>
            <a:endParaRPr lang="fr-FR"/>
          </a:p>
        </p:txBody>
      </p:sp>
    </p:spTree>
    <p:extLst>
      <p:ext uri="{BB962C8B-B14F-4D97-AF65-F5344CB8AC3E}">
        <p14:creationId xmlns:p14="http://schemas.microsoft.com/office/powerpoint/2010/main" val="402010709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age de Couverture C">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EBB52D14-9142-3F40-8EE6-E4FF6A8AAE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53" y="2070194"/>
            <a:ext cx="5891751" cy="3314110"/>
          </a:xfrm>
          <a:prstGeom prst="rect">
            <a:avLst/>
          </a:prstGeom>
        </p:spPr>
      </p:pic>
      <p:pic>
        <p:nvPicPr>
          <p:cNvPr id="13" name="Image 12">
            <a:extLst>
              <a:ext uri="{FF2B5EF4-FFF2-40B4-BE49-F238E27FC236}">
                <a16:creationId xmlns:a16="http://schemas.microsoft.com/office/drawing/2014/main" id="{7975C9D1-7FF3-7D41-BC72-B1D6153761F0}"/>
              </a:ext>
            </a:extLst>
          </p:cNvPr>
          <p:cNvPicPr>
            <a:picLocks noChangeAspect="1"/>
          </p:cNvPicPr>
          <p:nvPr userDrawn="1"/>
        </p:nvPicPr>
        <p:blipFill>
          <a:blip r:embed="rId3" cstate="email">
            <a:alphaModFix/>
            <a:extLst>
              <a:ext uri="{28A0092B-C50C-407E-A947-70E740481C1C}">
                <a14:useLocalDpi xmlns:a14="http://schemas.microsoft.com/office/drawing/2010/main"/>
              </a:ext>
            </a:extLst>
          </a:blip>
          <a:stretch>
            <a:fillRect/>
          </a:stretch>
        </p:blipFill>
        <p:spPr>
          <a:xfrm>
            <a:off x="0" y="1673"/>
            <a:ext cx="12191999" cy="6854653"/>
          </a:xfrm>
          <a:prstGeom prst="rect">
            <a:avLst/>
          </a:prstGeom>
        </p:spPr>
      </p:pic>
      <p:sp>
        <p:nvSpPr>
          <p:cNvPr id="17" name="Titre 1">
            <a:extLst>
              <a:ext uri="{FF2B5EF4-FFF2-40B4-BE49-F238E27FC236}">
                <a16:creationId xmlns:a16="http://schemas.microsoft.com/office/drawing/2014/main" id="{F7EA1070-2372-EE42-9FD8-FFB4C6EC6C26}"/>
              </a:ext>
            </a:extLst>
          </p:cNvPr>
          <p:cNvSpPr>
            <a:spLocks noGrp="1"/>
          </p:cNvSpPr>
          <p:nvPr>
            <p:ph type="title" hasCustomPrompt="1"/>
          </p:nvPr>
        </p:nvSpPr>
        <p:spPr>
          <a:xfrm>
            <a:off x="4996991" y="2095594"/>
            <a:ext cx="6332521" cy="1462781"/>
          </a:xfrm>
        </p:spPr>
        <p:txBody>
          <a:bodyPr lIns="0" tIns="0" rIns="0" bIns="0" anchor="b">
            <a:normAutofit/>
          </a:bodyPr>
          <a:lstStyle>
            <a:lvl1pPr>
              <a:defRPr lang="fr-FR" sz="4800" b="1" kern="1200" dirty="0">
                <a:solidFill>
                  <a:schemeClr val="tx1"/>
                </a:solidFill>
                <a:latin typeface="Arial" panose="020B0604020202020204" pitchFamily="34" charset="0"/>
                <a:ea typeface="+mn-ea"/>
                <a:cs typeface="Arial" panose="020B0604020202020204" pitchFamily="34" charset="0"/>
              </a:defRPr>
            </a:lvl1pPr>
          </a:lstStyle>
          <a:p>
            <a:r>
              <a:rPr lang="fr-FR"/>
              <a:t>CLIQUEZ POUR </a:t>
            </a:r>
            <a:br>
              <a:rPr lang="fr-FR"/>
            </a:br>
            <a:r>
              <a:rPr lang="fr-FR"/>
              <a:t>AJOUTER UN TITRE</a:t>
            </a:r>
          </a:p>
        </p:txBody>
      </p:sp>
      <p:sp>
        <p:nvSpPr>
          <p:cNvPr id="18" name="Espace réservé du texte 2">
            <a:extLst>
              <a:ext uri="{FF2B5EF4-FFF2-40B4-BE49-F238E27FC236}">
                <a16:creationId xmlns:a16="http://schemas.microsoft.com/office/drawing/2014/main" id="{B85C5C3F-95A4-FA4C-BF63-04CCC7721639}"/>
              </a:ext>
            </a:extLst>
          </p:cNvPr>
          <p:cNvSpPr>
            <a:spLocks noGrp="1"/>
          </p:cNvSpPr>
          <p:nvPr>
            <p:ph type="body" idx="1" hasCustomPrompt="1"/>
          </p:nvPr>
        </p:nvSpPr>
        <p:spPr>
          <a:xfrm>
            <a:off x="4979988" y="3808740"/>
            <a:ext cx="2097315"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Date</a:t>
            </a:r>
          </a:p>
        </p:txBody>
      </p:sp>
      <p:sp>
        <p:nvSpPr>
          <p:cNvPr id="19" name="Espace réservé du texte 2">
            <a:extLst>
              <a:ext uri="{FF2B5EF4-FFF2-40B4-BE49-F238E27FC236}">
                <a16:creationId xmlns:a16="http://schemas.microsoft.com/office/drawing/2014/main" id="{59A5C752-6366-A642-B5BD-8498AEA0ED7D}"/>
              </a:ext>
            </a:extLst>
          </p:cNvPr>
          <p:cNvSpPr>
            <a:spLocks noGrp="1"/>
          </p:cNvSpPr>
          <p:nvPr>
            <p:ph type="body" idx="10" hasCustomPrompt="1"/>
          </p:nvPr>
        </p:nvSpPr>
        <p:spPr>
          <a:xfrm>
            <a:off x="4979987" y="4220932"/>
            <a:ext cx="6349525" cy="308562"/>
          </a:xfrm>
        </p:spPr>
        <p:txBody>
          <a:bodyPr lIns="0" tIns="0" rIns="0" bIns="0">
            <a:noAutofit/>
          </a:bodyPr>
          <a:lstStyle>
            <a:lvl1pPr marL="0" indent="0" algn="l" defTabSz="914400" rtl="0" eaLnBrk="1" latinLnBrk="0" hangingPunct="1">
              <a:lnSpc>
                <a:spcPts val="2400"/>
              </a:lnSpc>
              <a:buNone/>
              <a:defRPr lang="fr-FR" sz="1800" kern="1200" dirty="0">
                <a:solidFill>
                  <a:schemeClr val="tx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ervice émetteur</a:t>
            </a:r>
          </a:p>
        </p:txBody>
      </p:sp>
      <p:pic>
        <p:nvPicPr>
          <p:cNvPr id="11" name="Image 10">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4"/>
          <a:srcRect l="17688" t="14066" r="48632" b="19347"/>
          <a:stretch/>
        </p:blipFill>
        <p:spPr>
          <a:xfrm>
            <a:off x="10734675" y="202629"/>
            <a:ext cx="1325136" cy="819053"/>
          </a:xfrm>
          <a:prstGeom prst="rect">
            <a:avLst/>
          </a:prstGeom>
        </p:spPr>
      </p:pic>
      <p:pic>
        <p:nvPicPr>
          <p:cNvPr id="14" name="Image 13" descr="Une image contenant texte&#10;&#10;Description générée automatiquement">
            <a:extLst>
              <a:ext uri="{FF2B5EF4-FFF2-40B4-BE49-F238E27FC236}">
                <a16:creationId xmlns:a16="http://schemas.microsoft.com/office/drawing/2014/main" id="{910BD66F-B89C-43BD-A224-C1364D632537}"/>
              </a:ext>
            </a:extLst>
          </p:cNvPr>
          <p:cNvPicPr>
            <a:picLocks noChangeAspect="1"/>
          </p:cNvPicPr>
          <p:nvPr userDrawn="1"/>
        </p:nvPicPr>
        <p:blipFill>
          <a:blip r:embed="rId5"/>
          <a:stretch>
            <a:fillRect/>
          </a:stretch>
        </p:blipFill>
        <p:spPr>
          <a:xfrm>
            <a:off x="8494592" y="6076708"/>
            <a:ext cx="960105" cy="750481"/>
          </a:xfrm>
          <a:prstGeom prst="rect">
            <a:avLst/>
          </a:prstGeom>
        </p:spPr>
      </p:pic>
      <p:pic>
        <p:nvPicPr>
          <p:cNvPr id="16" name="Image 15">
            <a:extLst>
              <a:ext uri="{FF2B5EF4-FFF2-40B4-BE49-F238E27FC236}">
                <a16:creationId xmlns:a16="http://schemas.microsoft.com/office/drawing/2014/main" id="{2243E6BC-6888-406A-B31F-4F493CFF85EF}"/>
              </a:ext>
            </a:extLst>
          </p:cNvPr>
          <p:cNvPicPr>
            <a:picLocks noChangeAspect="1"/>
          </p:cNvPicPr>
          <p:nvPr userDrawn="1"/>
        </p:nvPicPr>
        <p:blipFill>
          <a:blip r:embed="rId6"/>
          <a:stretch>
            <a:fillRect/>
          </a:stretch>
        </p:blipFill>
        <p:spPr>
          <a:xfrm>
            <a:off x="9504434" y="6161342"/>
            <a:ext cx="1330191" cy="479348"/>
          </a:xfrm>
          <a:prstGeom prst="rect">
            <a:avLst/>
          </a:prstGeom>
        </p:spPr>
      </p:pic>
      <p:pic>
        <p:nvPicPr>
          <p:cNvPr id="20" name="Image 19"/>
          <p:cNvPicPr>
            <a:picLocks noChangeAspect="1"/>
          </p:cNvPicPr>
          <p:nvPr userDrawn="1"/>
        </p:nvPicPr>
        <p:blipFill>
          <a:blip r:embed="rId7"/>
          <a:stretch>
            <a:fillRect/>
          </a:stretch>
        </p:blipFill>
        <p:spPr>
          <a:xfrm>
            <a:off x="10788858" y="6085944"/>
            <a:ext cx="1375434" cy="584830"/>
          </a:xfrm>
          <a:prstGeom prst="rect">
            <a:avLst/>
          </a:prstGeom>
        </p:spPr>
      </p:pic>
      <p:sp>
        <p:nvSpPr>
          <p:cNvPr id="15" name="ZoneTexte 14">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 </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060275"/>
      </p:ext>
    </p:extLst>
  </p:cSld>
  <p:clrMapOvr>
    <a:masterClrMapping/>
  </p:clrMapOvr>
  <p:extLst>
    <p:ext uri="{DCECCB84-F9BA-43D5-87BE-67443E8EF086}">
      <p15:sldGuideLst xmlns:p15="http://schemas.microsoft.com/office/powerpoint/2012/main">
        <p15:guide id="1" orient="horz">
          <p15:clr>
            <a:srgbClr val="FBAE40"/>
          </p15:clr>
        </p15:guide>
        <p15:guide id="2" pos="7680">
          <p15:clr>
            <a:srgbClr val="FBAE40"/>
          </p15:clr>
        </p15:guide>
        <p15:guide id="3" pos="3137">
          <p15:clr>
            <a:srgbClr val="FBAE40"/>
          </p15:clr>
        </p15:guide>
        <p15:guide id="4" orient="horz" pos="225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1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
        <p:nvSpPr>
          <p:cNvPr id="6" name="Title 3">
            <a:extLst>
              <a:ext uri="{FF2B5EF4-FFF2-40B4-BE49-F238E27FC236}">
                <a16:creationId xmlns:a16="http://schemas.microsoft.com/office/drawing/2014/main" id="{D88CC1CD-7566-406D-BE7D-B3D0BEDEAD11}"/>
              </a:ext>
            </a:extLst>
          </p:cNvPr>
          <p:cNvSpPr>
            <a:spLocks noGrp="1"/>
          </p:cNvSpPr>
          <p:nvPr>
            <p:ph type="title" idx="4294967295"/>
          </p:nvPr>
        </p:nvSpPr>
        <p:spPr>
          <a:xfrm>
            <a:off x="255787" y="254880"/>
            <a:ext cx="6985000" cy="682625"/>
          </a:xfrm>
        </p:spPr>
        <p:txBody>
          <a:bodyPr anchor="ctr">
            <a:normAutofit/>
          </a:bodyPr>
          <a:lstStyle>
            <a:lvl1pPr>
              <a:defRPr sz="2800">
                <a:solidFill>
                  <a:srgbClr val="005CA9"/>
                </a:solidFill>
              </a:defRPr>
            </a:lvl1pPr>
          </a:lstStyle>
          <a:p>
            <a:endParaRPr lang="fr-FR"/>
          </a:p>
        </p:txBody>
      </p:sp>
    </p:spTree>
    <p:extLst>
      <p:ext uri="{BB962C8B-B14F-4D97-AF65-F5344CB8AC3E}">
        <p14:creationId xmlns:p14="http://schemas.microsoft.com/office/powerpoint/2010/main" val="694366553"/>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0_Titre et puces">
    <p:spTree>
      <p:nvGrpSpPr>
        <p:cNvPr id="1" name=""/>
        <p:cNvGrpSpPr/>
        <p:nvPr/>
      </p:nvGrpSpPr>
      <p:grpSpPr>
        <a:xfrm>
          <a:off x="0" y="0"/>
          <a:ext cx="0" cy="0"/>
          <a:chOff x="0" y="0"/>
          <a:chExt cx="0" cy="0"/>
        </a:xfrm>
      </p:grpSpPr>
      <p:pic>
        <p:nvPicPr>
          <p:cNvPr id="12" name="Image 8">
            <a:extLst>
              <a:ext uri="{FF2B5EF4-FFF2-40B4-BE49-F238E27FC236}">
                <a16:creationId xmlns:a16="http://schemas.microsoft.com/office/drawing/2014/main" id="{1BF34AE7-AC77-41F0-A5FC-C838F14AA243}"/>
              </a:ext>
            </a:extLst>
          </p:cNvPr>
          <p:cNvPicPr>
            <a:picLocks noChangeAspect="1"/>
          </p:cNvPicPr>
          <p:nvPr userDrawn="1"/>
        </p:nvPicPr>
        <p:blipFill rotWithShape="1">
          <a:blip r:embed="rId2"/>
          <a:srcRect b="26788"/>
          <a:stretch/>
        </p:blipFill>
        <p:spPr>
          <a:xfrm>
            <a:off x="-1" y="-1"/>
            <a:ext cx="12192001" cy="6195060"/>
          </a:xfrm>
          <a:prstGeom prst="rect">
            <a:avLst/>
          </a:prstGeom>
        </p:spPr>
      </p:pic>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3"/>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
        <p:nvSpPr>
          <p:cNvPr id="6" name="Title 3">
            <a:extLst>
              <a:ext uri="{FF2B5EF4-FFF2-40B4-BE49-F238E27FC236}">
                <a16:creationId xmlns:a16="http://schemas.microsoft.com/office/drawing/2014/main" id="{D88CC1CD-7566-406D-BE7D-B3D0BEDEAD11}"/>
              </a:ext>
            </a:extLst>
          </p:cNvPr>
          <p:cNvSpPr>
            <a:spLocks noGrp="1"/>
          </p:cNvSpPr>
          <p:nvPr>
            <p:ph type="title" idx="4294967295"/>
          </p:nvPr>
        </p:nvSpPr>
        <p:spPr>
          <a:xfrm>
            <a:off x="255787" y="2966538"/>
            <a:ext cx="6985000" cy="682625"/>
          </a:xfrm>
        </p:spPr>
        <p:txBody>
          <a:bodyPr anchor="ctr"/>
          <a:lstStyle>
            <a:lvl1pPr>
              <a:defRPr>
                <a:solidFill>
                  <a:srgbClr val="005CA9"/>
                </a:solidFill>
              </a:defRPr>
            </a:lvl1pPr>
          </a:lstStyle>
          <a:p>
            <a:endParaRPr lang="fr-FR"/>
          </a:p>
        </p:txBody>
      </p:sp>
      <p:pic>
        <p:nvPicPr>
          <p:cNvPr id="7" name="Logo-ReMES.png" descr="Logo-ReMES.png">
            <a:extLst>
              <a:ext uri="{FF2B5EF4-FFF2-40B4-BE49-F238E27FC236}">
                <a16:creationId xmlns:a16="http://schemas.microsoft.com/office/drawing/2014/main" id="{E178851E-C63F-45F7-A5D8-3657E9E612B0}"/>
              </a:ext>
            </a:extLst>
          </p:cNvPr>
          <p:cNvPicPr>
            <a:picLocks noChangeAspect="1"/>
          </p:cNvPicPr>
          <p:nvPr userDrawn="1"/>
        </p:nvPicPr>
        <p:blipFill>
          <a:blip r:embed="rId4"/>
          <a:stretch>
            <a:fillRect/>
          </a:stretch>
        </p:blipFill>
        <p:spPr>
          <a:xfrm>
            <a:off x="1051177" y="6233160"/>
            <a:ext cx="531090" cy="574622"/>
          </a:xfrm>
          <a:prstGeom prst="rect">
            <a:avLst/>
          </a:prstGeom>
          <a:ln w="12700">
            <a:miter lim="400000"/>
          </a:ln>
        </p:spPr>
      </p:pic>
      <p:sp>
        <p:nvSpPr>
          <p:cNvPr id="10" name="Ligne">
            <a:extLst>
              <a:ext uri="{FF2B5EF4-FFF2-40B4-BE49-F238E27FC236}">
                <a16:creationId xmlns:a16="http://schemas.microsoft.com/office/drawing/2014/main" id="{14711DEF-5831-41CC-AB49-599942FBCBEA}"/>
              </a:ext>
            </a:extLst>
          </p:cNvPr>
          <p:cNvSpPr/>
          <p:nvPr userDrawn="1"/>
        </p:nvSpPr>
        <p:spPr>
          <a:xfrm>
            <a:off x="255787" y="3739064"/>
            <a:ext cx="7623618" cy="0"/>
          </a:xfrm>
          <a:prstGeom prst="line">
            <a:avLst/>
          </a:prstGeom>
          <a:ln w="63500">
            <a:solidFill>
              <a:srgbClr val="005CA9"/>
            </a:solidFill>
            <a:miter lim="400000"/>
          </a:ln>
        </p:spPr>
        <p:txBody>
          <a:bodyPr lIns="25400" tIns="25400" rIns="25400" bIns="25400" anchor="ctr"/>
          <a:lstStyle/>
          <a:p>
            <a:endParaRPr sz="900"/>
          </a:p>
        </p:txBody>
      </p:sp>
      <p:sp>
        <p:nvSpPr>
          <p:cNvPr id="11" name="Ligne">
            <a:extLst>
              <a:ext uri="{FF2B5EF4-FFF2-40B4-BE49-F238E27FC236}">
                <a16:creationId xmlns:a16="http://schemas.microsoft.com/office/drawing/2014/main" id="{126035E3-63CB-4EA7-BEEF-13C4E5999C48}"/>
              </a:ext>
            </a:extLst>
          </p:cNvPr>
          <p:cNvSpPr/>
          <p:nvPr userDrawn="1"/>
        </p:nvSpPr>
        <p:spPr>
          <a:xfrm>
            <a:off x="7899736" y="3731753"/>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A9"/>
            </a:solidFill>
            <a:miter lim="400000"/>
          </a:ln>
        </p:spPr>
        <p:txBody>
          <a:bodyPr lIns="25400" tIns="25400" rIns="25400" bIns="25400" anchor="ctr"/>
          <a:lstStyle/>
          <a:p>
            <a:pPr>
              <a:defRPr>
                <a:solidFill>
                  <a:srgbClr val="005C9B"/>
                </a:solidFill>
              </a:defRPr>
            </a:pPr>
            <a:endParaRPr sz="900"/>
          </a:p>
        </p:txBody>
      </p:sp>
    </p:spTree>
    <p:extLst>
      <p:ext uri="{BB962C8B-B14F-4D97-AF65-F5344CB8AC3E}">
        <p14:creationId xmlns:p14="http://schemas.microsoft.com/office/powerpoint/2010/main" val="1861431178"/>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9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43" name="Logo-ReMES.png" descr="Logo-ReMES.png"/>
          <p:cNvPicPr>
            <a:picLocks noChangeAspect="1"/>
          </p:cNvPicPr>
          <p:nvPr/>
        </p:nvPicPr>
        <p:blipFill>
          <a:blip r:embed="rId2"/>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A9"/>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A9"/>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9306965" cy="1133342"/>
          </a:xfrm>
          <a:ln>
            <a:noFill/>
          </a:ln>
        </p:spPr>
        <p:txBody>
          <a:bodyPr anchor="b">
            <a:normAutofit/>
          </a:bodyPr>
          <a:lstStyle>
            <a:lvl1pPr>
              <a:defRPr sz="2800">
                <a:solidFill>
                  <a:srgbClr val="005CA9"/>
                </a:solidFill>
              </a:defRPr>
            </a:lvl1pPr>
          </a:lstStyle>
          <a:p>
            <a:r>
              <a:rPr lang="fr-FR"/>
              <a:t>MODIFIEZ LE STYLE DU TITRE</a:t>
            </a:r>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3"/>
          <a:stretch>
            <a:fillRect/>
          </a:stretch>
        </p:blipFill>
        <p:spPr>
          <a:xfrm>
            <a:off x="255787" y="6233160"/>
            <a:ext cx="737619" cy="574622"/>
          </a:xfrm>
          <a:prstGeom prst="rect">
            <a:avLst/>
          </a:prstGeom>
        </p:spPr>
      </p:pic>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263079412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25207"/>
          <a:stretch/>
        </p:blipFill>
        <p:spPr>
          <a:xfrm>
            <a:off x="-1" y="-13855"/>
            <a:ext cx="12192001" cy="1472537"/>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sp>
        <p:nvSpPr>
          <p:cNvPr id="45" name="Ligne"/>
          <p:cNvSpPr/>
          <p:nvPr/>
        </p:nvSpPr>
        <p:spPr>
          <a:xfrm>
            <a:off x="327103" y="1006372"/>
            <a:ext cx="7623618" cy="0"/>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7971052" y="999061"/>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48" name="Ligne"/>
          <p:cNvSpPr/>
          <p:nvPr/>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82960" y="-130625"/>
            <a:ext cx="6984241" cy="1133342"/>
          </a:xfrm>
        </p:spPr>
        <p:txBody>
          <a:bodyPr anchor="b">
            <a:normAutofit/>
          </a:bodyPr>
          <a:lstStyle>
            <a:lvl1pPr>
              <a:defRPr sz="2800"/>
            </a:lvl1pPr>
          </a:lstStyle>
          <a:p>
            <a:r>
              <a:rPr lang="fr-FR"/>
              <a:t>MODIFIEZ LE STYLE DU TITRE</a:t>
            </a:r>
          </a:p>
        </p:txBody>
      </p:sp>
      <p:pic>
        <p:nvPicPr>
          <p:cNvPr id="18" name="Image 17">
            <a:extLst>
              <a:ext uri="{FF2B5EF4-FFF2-40B4-BE49-F238E27FC236}">
                <a16:creationId xmlns:a16="http://schemas.microsoft.com/office/drawing/2014/main" id="{ACB49F1B-E482-C642-8571-1C5552E66A3F}"/>
              </a:ext>
            </a:extLst>
          </p:cNvPr>
          <p:cNvPicPr>
            <a:picLocks noChangeAspect="1"/>
          </p:cNvPicPr>
          <p:nvPr userDrawn="1"/>
        </p:nvPicPr>
        <p:blipFill>
          <a:blip r:embed="rId3"/>
          <a:stretch>
            <a:fillRect/>
          </a:stretch>
        </p:blipFill>
        <p:spPr>
          <a:xfrm>
            <a:off x="255787" y="6233160"/>
            <a:ext cx="737619" cy="574622"/>
          </a:xfrm>
          <a:prstGeom prst="rect">
            <a:avLst/>
          </a:prstGeom>
        </p:spPr>
      </p:pic>
      <p:pic>
        <p:nvPicPr>
          <p:cNvPr id="19" name="Logo-ReMES.png" descr="Logo-ReMES.png">
            <a:extLst>
              <a:ext uri="{FF2B5EF4-FFF2-40B4-BE49-F238E27FC236}">
                <a16:creationId xmlns:a16="http://schemas.microsoft.com/office/drawing/2014/main" id="{970D7B19-CD8E-CE4E-80E2-AF4AF9820198}"/>
              </a:ext>
            </a:extLst>
          </p:cNvPr>
          <p:cNvPicPr>
            <a:picLocks noChangeAspect="1"/>
          </p:cNvPicPr>
          <p:nvPr userDrawn="1"/>
        </p:nvPicPr>
        <p:blipFill>
          <a:blip r:embed="rId4"/>
          <a:stretch>
            <a:fillRect/>
          </a:stretch>
        </p:blipFill>
        <p:spPr>
          <a:xfrm>
            <a:off x="10455732" y="-37842"/>
            <a:ext cx="1453308" cy="1572432"/>
          </a:xfrm>
          <a:prstGeom prst="rect">
            <a:avLst/>
          </a:prstGeom>
          <a:ln w="12700">
            <a:miter lim="400000"/>
          </a:ln>
        </p:spPr>
      </p:pic>
      <p:sp>
        <p:nvSpPr>
          <p:cNvPr id="20" name="Auteur et date">
            <a:extLst>
              <a:ext uri="{FF2B5EF4-FFF2-40B4-BE49-F238E27FC236}">
                <a16:creationId xmlns:a16="http://schemas.microsoft.com/office/drawing/2014/main" id="{DFDEC6E2-7E3C-9E41-8681-32F97B8C6C09}"/>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1874023281"/>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3265436970"/>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6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19" name="Ligne">
            <a:extLst>
              <a:ext uri="{FF2B5EF4-FFF2-40B4-BE49-F238E27FC236}">
                <a16:creationId xmlns:a16="http://schemas.microsoft.com/office/drawing/2014/main" id="{D320721D-93A5-1141-B7B2-DF6C56E96DDA}"/>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pic>
        <p:nvPicPr>
          <p:cNvPr id="9" name="Logo-ReMES.png" descr="Logo-ReMES.png">
            <a:extLst>
              <a:ext uri="{FF2B5EF4-FFF2-40B4-BE49-F238E27FC236}">
                <a16:creationId xmlns:a16="http://schemas.microsoft.com/office/drawing/2014/main" id="{E5485AB1-A227-4EDB-9891-6F42EF6ECF5D}"/>
              </a:ext>
            </a:extLst>
          </p:cNvPr>
          <p:cNvPicPr>
            <a:picLocks noChangeAspect="1"/>
          </p:cNvPicPr>
          <p:nvPr userDrawn="1"/>
        </p:nvPicPr>
        <p:blipFill>
          <a:blip r:embed="rId3"/>
          <a:stretch>
            <a:fillRect/>
          </a:stretch>
        </p:blipFill>
        <p:spPr>
          <a:xfrm>
            <a:off x="222482" y="16625"/>
            <a:ext cx="1415817" cy="1531867"/>
          </a:xfrm>
          <a:prstGeom prst="rect">
            <a:avLst/>
          </a:prstGeom>
          <a:ln w="12700">
            <a:miter lim="400000"/>
          </a:ln>
        </p:spPr>
      </p:pic>
    </p:spTree>
    <p:extLst>
      <p:ext uri="{BB962C8B-B14F-4D97-AF65-F5344CB8AC3E}">
        <p14:creationId xmlns:p14="http://schemas.microsoft.com/office/powerpoint/2010/main" val="404548827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4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1064491839"/>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5_Titre et puces">
    <p:spTree>
      <p:nvGrpSpPr>
        <p:cNvPr id="1" name=""/>
        <p:cNvGrpSpPr/>
        <p:nvPr/>
      </p:nvGrpSpPr>
      <p:grpSpPr>
        <a:xfrm>
          <a:off x="0" y="0"/>
          <a:ext cx="0" cy="0"/>
          <a:chOff x="0" y="0"/>
          <a:chExt cx="0" cy="0"/>
        </a:xfrm>
      </p:grpSpPr>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18" name="Image 17">
            <a:extLst>
              <a:ext uri="{FF2B5EF4-FFF2-40B4-BE49-F238E27FC236}">
                <a16:creationId xmlns:a16="http://schemas.microsoft.com/office/drawing/2014/main" id="{E4A1E0FE-0AB3-1E4A-A0C8-7DF02EA6B5CC}"/>
              </a:ext>
            </a:extLst>
          </p:cNvPr>
          <p:cNvPicPr>
            <a:picLocks noChangeAspect="1"/>
          </p:cNvPicPr>
          <p:nvPr userDrawn="1"/>
        </p:nvPicPr>
        <p:blipFill>
          <a:blip r:embed="rId2"/>
          <a:stretch>
            <a:fillRect/>
          </a:stretch>
        </p:blipFill>
        <p:spPr>
          <a:xfrm>
            <a:off x="255787" y="6233160"/>
            <a:ext cx="737619" cy="574622"/>
          </a:xfrm>
          <a:prstGeom prst="rect">
            <a:avLst/>
          </a:prstGeom>
        </p:spPr>
      </p:pic>
      <p:sp>
        <p:nvSpPr>
          <p:cNvPr id="8" name="Auteur et date">
            <a:extLst>
              <a:ext uri="{FF2B5EF4-FFF2-40B4-BE49-F238E27FC236}">
                <a16:creationId xmlns:a16="http://schemas.microsoft.com/office/drawing/2014/main" id="{E9814A38-F43C-6641-9359-555D391D98F8}"/>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pic>
        <p:nvPicPr>
          <p:cNvPr id="9" name="Logo-ReMES.png" descr="Logo-ReMES.png">
            <a:extLst>
              <a:ext uri="{FF2B5EF4-FFF2-40B4-BE49-F238E27FC236}">
                <a16:creationId xmlns:a16="http://schemas.microsoft.com/office/drawing/2014/main" id="{BEC92112-7E05-4651-8DF2-940B6266A4F0}"/>
              </a:ext>
            </a:extLst>
          </p:cNvPr>
          <p:cNvPicPr>
            <a:picLocks noChangeAspect="1"/>
          </p:cNvPicPr>
          <p:nvPr userDrawn="1"/>
        </p:nvPicPr>
        <p:blipFill>
          <a:blip r:embed="rId3"/>
          <a:stretch>
            <a:fillRect/>
          </a:stretch>
        </p:blipFill>
        <p:spPr>
          <a:xfrm>
            <a:off x="222482" y="16625"/>
            <a:ext cx="1415817" cy="1531867"/>
          </a:xfrm>
          <a:prstGeom prst="rect">
            <a:avLst/>
          </a:prstGeom>
          <a:ln w="12700">
            <a:miter lim="400000"/>
          </a:ln>
        </p:spPr>
      </p:pic>
    </p:spTree>
    <p:extLst>
      <p:ext uri="{BB962C8B-B14F-4D97-AF65-F5344CB8AC3E}">
        <p14:creationId xmlns:p14="http://schemas.microsoft.com/office/powerpoint/2010/main" val="1296959204"/>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4"/>
          <a:stretch>
            <a:fillRect/>
          </a:stretch>
        </p:blipFill>
        <p:spPr>
          <a:xfrm>
            <a:off x="255787" y="6233160"/>
            <a:ext cx="737619" cy="574622"/>
          </a:xfrm>
          <a:prstGeom prst="rect">
            <a:avLst/>
          </a:prstGeom>
        </p:spPr>
      </p:pic>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3059511818"/>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sp>
        <p:nvSpPr>
          <p:cNvPr id="42" name="Numéro de diapositive"/>
          <p:cNvSpPr txBox="1">
            <a:spLocks noGrp="1"/>
          </p:cNvSpPr>
          <p:nvPr>
            <p:ph type="sldNum" sz="quarter" idx="2"/>
          </p:nvPr>
        </p:nvSpPr>
        <p:spPr>
          <a:xfrm>
            <a:off x="11620482" y="6344103"/>
            <a:ext cx="309380" cy="241092"/>
          </a:xfrm>
          <a:prstGeom prst="rect">
            <a:avLst/>
          </a:prstGeom>
        </p:spPr>
        <p:txBody>
          <a:bodyPr/>
          <a:lstStyle/>
          <a:p>
            <a:fld id="{86CB4B4D-7CA3-9044-876B-883B54F8677D}" type="slidenum">
              <a:t>‹#›</a:t>
            </a:fld>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pic>
        <p:nvPicPr>
          <p:cNvPr id="20" name="Image 19">
            <a:extLst>
              <a:ext uri="{FF2B5EF4-FFF2-40B4-BE49-F238E27FC236}">
                <a16:creationId xmlns:a16="http://schemas.microsoft.com/office/drawing/2014/main" id="{9B40E965-C296-F84D-A1C2-88449CB11A87}"/>
              </a:ext>
            </a:extLst>
          </p:cNvPr>
          <p:cNvPicPr>
            <a:picLocks noChangeAspect="1"/>
          </p:cNvPicPr>
          <p:nvPr userDrawn="1"/>
        </p:nvPicPr>
        <p:blipFill>
          <a:blip r:embed="rId4"/>
          <a:stretch>
            <a:fillRect/>
          </a:stretch>
        </p:blipFill>
        <p:spPr>
          <a:xfrm>
            <a:off x="255787" y="6233160"/>
            <a:ext cx="737619" cy="574622"/>
          </a:xfrm>
          <a:prstGeom prst="rect">
            <a:avLst/>
          </a:prstGeom>
        </p:spPr>
      </p:pic>
      <p:sp>
        <p:nvSpPr>
          <p:cNvPr id="13" name="Auteur et date">
            <a:extLst>
              <a:ext uri="{FF2B5EF4-FFF2-40B4-BE49-F238E27FC236}">
                <a16:creationId xmlns:a16="http://schemas.microsoft.com/office/drawing/2014/main" id="{E30CA11C-B037-8E48-B945-69C3DE227325}"/>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295356447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BC1B207-59CD-004B-B392-04D2001D5635}"/>
              </a:ext>
            </a:extLst>
          </p:cNvPr>
          <p:cNvSpPr/>
          <p:nvPr userDrawn="1"/>
        </p:nvSpPr>
        <p:spPr>
          <a:xfrm>
            <a:off x="0" y="0"/>
            <a:ext cx="12192000" cy="6858000"/>
          </a:xfrm>
          <a:prstGeom prst="rect">
            <a:avLst/>
          </a:prstGeom>
          <a:solidFill>
            <a:srgbClr val="6F70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a:extLst>
              <a:ext uri="{FF2B5EF4-FFF2-40B4-BE49-F238E27FC236}">
                <a16:creationId xmlns:a16="http://schemas.microsoft.com/office/drawing/2014/main" id="{6F2FED54-7BF5-F145-BDB3-E02F5549A33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pic>
        <p:nvPicPr>
          <p:cNvPr id="11" name="Image 10">
            <a:extLst>
              <a:ext uri="{FF2B5EF4-FFF2-40B4-BE49-F238E27FC236}">
                <a16:creationId xmlns:a16="http://schemas.microsoft.com/office/drawing/2014/main" id="{112B6354-07FA-0442-98F9-E30D1E5D657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13116" b="2943"/>
          <a:stretch/>
        </p:blipFill>
        <p:spPr>
          <a:xfrm>
            <a:off x="8105615" y="1542785"/>
            <a:ext cx="4086386" cy="5315216"/>
          </a:xfrm>
          <a:prstGeom prst="rect">
            <a:avLst/>
          </a:prstGeom>
        </p:spPr>
      </p:pic>
      <p:sp>
        <p:nvSpPr>
          <p:cNvPr id="14" name="Titre 1">
            <a:extLst>
              <a:ext uri="{FF2B5EF4-FFF2-40B4-BE49-F238E27FC236}">
                <a16:creationId xmlns:a16="http://schemas.microsoft.com/office/drawing/2014/main" id="{57E41960-6857-DF46-A859-E5BE5CA3C7E0}"/>
              </a:ext>
            </a:extLst>
          </p:cNvPr>
          <p:cNvSpPr>
            <a:spLocks noGrp="1"/>
          </p:cNvSpPr>
          <p:nvPr>
            <p:ph type="title" hasCustomPrompt="1"/>
          </p:nvPr>
        </p:nvSpPr>
        <p:spPr>
          <a:xfrm>
            <a:off x="481385" y="2033413"/>
            <a:ext cx="1897430" cy="412557"/>
          </a:xfrm>
        </p:spPr>
        <p:txBody>
          <a:bodyPr lIns="0" tIns="0" rIns="0" bIns="0">
            <a:normAutofit/>
          </a:bodyPr>
          <a:lstStyle>
            <a:lvl1pPr>
              <a:defRPr lang="fr-FR" sz="2800" b="1" kern="1200" dirty="0">
                <a:solidFill>
                  <a:schemeClr val="bg1"/>
                </a:solidFill>
                <a:latin typeface="Arial" panose="020B0604020202020204" pitchFamily="34" charset="0"/>
                <a:ea typeface="+mn-ea"/>
                <a:cs typeface="Arial" panose="020B0604020202020204" pitchFamily="34" charset="0"/>
              </a:defRPr>
            </a:lvl1pPr>
          </a:lstStyle>
          <a:p>
            <a:r>
              <a:rPr lang="fr-FR"/>
              <a:t>Sommaire</a:t>
            </a:r>
          </a:p>
        </p:txBody>
      </p:sp>
      <p:sp>
        <p:nvSpPr>
          <p:cNvPr id="15" name="Espace réservé du contenu 2">
            <a:extLst>
              <a:ext uri="{FF2B5EF4-FFF2-40B4-BE49-F238E27FC236}">
                <a16:creationId xmlns:a16="http://schemas.microsoft.com/office/drawing/2014/main" id="{09C5B5C4-7BA0-3849-A36C-D0DEF3C2C9B3}"/>
              </a:ext>
            </a:extLst>
          </p:cNvPr>
          <p:cNvSpPr>
            <a:spLocks noGrp="1"/>
          </p:cNvSpPr>
          <p:nvPr>
            <p:ph sz="half" idx="1" hasCustomPrompt="1"/>
          </p:nvPr>
        </p:nvSpPr>
        <p:spPr>
          <a:xfrm>
            <a:off x="484176" y="2648551"/>
            <a:ext cx="9691104" cy="1545315"/>
          </a:xfrm>
        </p:spPr>
        <p:txBody>
          <a:bodyPr lIns="0" tIns="0" rIns="0" bIns="0"/>
          <a:lstStyle>
            <a:lvl1pPr marL="0" marR="0" indent="0" algn="l" defTabSz="914400" rtl="0" eaLnBrk="1" fontAlgn="auto" latinLnBrk="0" hangingPunct="1">
              <a:lnSpc>
                <a:spcPts val="2800"/>
              </a:lnSpc>
              <a:spcBef>
                <a:spcPts val="1000"/>
              </a:spcBef>
              <a:spcAft>
                <a:spcPts val="0"/>
              </a:spcAft>
              <a:buClrTx/>
              <a:buSzTx/>
              <a:buFont typeface="Arial" panose="020B0604020202020204" pitchFamily="34" charset="0"/>
              <a:buNone/>
              <a:tabLst/>
              <a:defRPr lang="fr-FR" sz="1400" b="1" kern="1200">
                <a:solidFill>
                  <a:schemeClr val="bg1"/>
                </a:solidFill>
                <a:latin typeface="Arial" panose="020B0604020202020204" pitchFamily="34" charset="0"/>
                <a:ea typeface="+mn-ea"/>
                <a:cs typeface="Arial" panose="020B0604020202020204" pitchFamily="34" charset="0"/>
              </a:defRPr>
            </a:lvl1pPr>
          </a:lstStyle>
          <a:p>
            <a:r>
              <a:rPr lang="fr-FR"/>
              <a:t>1 / </a:t>
            </a:r>
            <a:r>
              <a:rPr lang="fr-FR" b="0"/>
              <a:t>Partie 1</a:t>
            </a:r>
          </a:p>
          <a:p>
            <a:r>
              <a:rPr lang="fr-FR"/>
              <a:t>2 / </a:t>
            </a:r>
            <a:r>
              <a:rPr lang="fr-FR" b="0"/>
              <a:t>Partie 2</a:t>
            </a:r>
          </a:p>
          <a:p>
            <a:r>
              <a:rPr lang="fr-FR"/>
              <a:t>3 / </a:t>
            </a:r>
            <a:r>
              <a:rPr lang="fr-FR" b="0"/>
              <a:t>Partie 3</a:t>
            </a:r>
          </a:p>
          <a:p>
            <a:r>
              <a:rPr lang="fr-FR"/>
              <a:t>4 / </a:t>
            </a:r>
            <a:r>
              <a:rPr lang="fr-FR" b="0"/>
              <a:t>Partie 4</a:t>
            </a:r>
          </a:p>
          <a:p>
            <a:r>
              <a:rPr lang="fr-FR"/>
              <a:t>5 / </a:t>
            </a:r>
            <a:r>
              <a:rPr lang="fr-FR" b="0"/>
              <a:t>Partie 5</a:t>
            </a:r>
          </a:p>
          <a:p>
            <a:endParaRPr lang="fr-FR"/>
          </a:p>
        </p:txBody>
      </p:sp>
      <p:sp>
        <p:nvSpPr>
          <p:cNvPr id="8" name="ZoneTexte 7">
            <a:extLst>
              <a:ext uri="{FF2B5EF4-FFF2-40B4-BE49-F238E27FC236}">
                <a16:creationId xmlns:a16="http://schemas.microsoft.com/office/drawing/2014/main" id="{D3DA25FD-CCBE-4C48-A113-48E583C19D66}"/>
              </a:ext>
            </a:extLst>
          </p:cNvPr>
          <p:cNvSpPr txBox="1"/>
          <p:nvPr userDrawn="1"/>
        </p:nvSpPr>
        <p:spPr>
          <a:xfrm>
            <a:off x="806242" y="6504041"/>
            <a:ext cx="6595672" cy="132024"/>
          </a:xfrm>
          <a:prstGeom prst="rect">
            <a:avLst/>
          </a:prstGeom>
          <a:noFill/>
        </p:spPr>
        <p:txBody>
          <a:bodyPr wrap="square" lIns="0" tIns="0" rIns="0" bIns="0" rtlCol="0">
            <a:spAutoFit/>
          </a:bodyPr>
          <a:lstStyle/>
          <a:p>
            <a:pPr>
              <a:lnSpc>
                <a:spcPts val="1100"/>
              </a:lnSpc>
            </a:pPr>
            <a:r>
              <a:rPr lang="fr-FR" sz="850">
                <a:solidFill>
                  <a:srgbClr val="6F7072"/>
                </a:solidFill>
                <a:latin typeface="Arial" panose="020B0604020202020204" pitchFamily="34" charset="0"/>
                <a:cs typeface="Arial" panose="020B0604020202020204" pitchFamily="34" charset="0"/>
              </a:rPr>
              <a:t>Titre du document / 00 mois AAAA / version</a:t>
            </a:r>
          </a:p>
        </p:txBody>
      </p:sp>
      <p:sp>
        <p:nvSpPr>
          <p:cNvPr id="12" name="ZoneTexte 11">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chemeClr val="bg1"/>
                </a:solidFill>
                <a:latin typeface="Arial" panose="020B0604020202020204" pitchFamily="34" charset="0"/>
                <a:cs typeface="Arial" panose="020B0604020202020204" pitchFamily="34" charset="0"/>
              </a:rPr>
              <a:pPr>
                <a:lnSpc>
                  <a:spcPts val="1100"/>
                </a:lnSpc>
              </a:pPr>
              <a:t>‹#›</a:t>
            </a:fld>
            <a:r>
              <a:rPr lang="fr-FR" sz="850">
                <a:solidFill>
                  <a:schemeClr val="bg1"/>
                </a:solidFill>
                <a:latin typeface="Arial" panose="020B0604020202020204" pitchFamily="34" charset="0"/>
                <a:cs typeface="Arial" panose="020B0604020202020204" pitchFamily="34" charset="0"/>
              </a:rPr>
              <a:t> | Webinaire Mon</a:t>
            </a:r>
            <a:r>
              <a:rPr lang="fr-FR" sz="850" baseline="0">
                <a:solidFill>
                  <a:schemeClr val="bg1"/>
                </a:solidFill>
                <a:latin typeface="Arial" panose="020B0604020202020204" pitchFamily="34" charset="0"/>
                <a:cs typeface="Arial" panose="020B0604020202020204" pitchFamily="34" charset="0"/>
              </a:rPr>
              <a:t> espace santé </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68755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4" name="Numéro de diapositive">
            <a:extLst>
              <a:ext uri="{FF2B5EF4-FFF2-40B4-BE49-F238E27FC236}">
                <a16:creationId xmlns:a16="http://schemas.microsoft.com/office/drawing/2014/main" id="{3DD48768-1DAF-9745-9152-FA78A48B27BD}"/>
              </a:ext>
            </a:extLst>
          </p:cNvPr>
          <p:cNvSpPr txBox="1">
            <a:spLocks/>
          </p:cNvSpPr>
          <p:nvPr userDrawn="1"/>
        </p:nvSpPr>
        <p:spPr>
          <a:xfrm>
            <a:off x="11626833" y="6340658"/>
            <a:ext cx="309380" cy="241092"/>
          </a:xfrm>
          <a:prstGeom prst="rect">
            <a:avLst/>
          </a:prstGeom>
          <a:ln w="12700">
            <a:miter lim="400000"/>
          </a:ln>
        </p:spPr>
        <p:txBody>
          <a:bodyPr wrap="none" lIns="50800" tIns="50800" rIns="50800" bIns="50800" anchor="b">
            <a:spAutoFit/>
          </a:bodyPr>
          <a:lstStyle>
            <a:defPPr>
              <a:defRPr lang="fr-FR"/>
            </a:defPPr>
            <a:lvl1pPr marL="0" algn="l" defTabSz="292100" rtl="0" eaLnBrk="1" latinLnBrk="0" hangingPunct="1">
              <a:defRPr sz="900" kern="1200">
                <a:solidFill>
                  <a:srgbClr val="DB3080"/>
                </a:solidFill>
                <a:latin typeface="+mj-lt"/>
                <a:ea typeface="+mj-ea"/>
                <a:cs typeface="+mj-cs"/>
                <a:sym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6CB4B4D-7CA3-9044-876B-883B54F8677D}" type="slidenum">
              <a:rPr lang="fr-FR" smtClean="0"/>
              <a:pPr/>
              <a:t>‹#›</a:t>
            </a:fld>
            <a:endParaRPr lang="fr-FR"/>
          </a:p>
        </p:txBody>
      </p:sp>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pic>
        <p:nvPicPr>
          <p:cNvPr id="17" name="Image 16">
            <a:extLst>
              <a:ext uri="{FF2B5EF4-FFF2-40B4-BE49-F238E27FC236}">
                <a16:creationId xmlns:a16="http://schemas.microsoft.com/office/drawing/2014/main" id="{E6B06AC1-B997-6E41-852D-06E90637F9CA}"/>
              </a:ext>
            </a:extLst>
          </p:cNvPr>
          <p:cNvPicPr>
            <a:picLocks noChangeAspect="1"/>
          </p:cNvPicPr>
          <p:nvPr userDrawn="1"/>
        </p:nvPicPr>
        <p:blipFill>
          <a:blip r:embed="rId4"/>
          <a:stretch>
            <a:fillRect/>
          </a:stretch>
        </p:blipFill>
        <p:spPr>
          <a:xfrm>
            <a:off x="255787" y="6233160"/>
            <a:ext cx="737619" cy="574622"/>
          </a:xfrm>
          <a:prstGeom prst="rect">
            <a:avLst/>
          </a:prstGeom>
        </p:spPr>
      </p:pic>
      <p:sp>
        <p:nvSpPr>
          <p:cNvPr id="12" name="Auteur et date">
            <a:extLst>
              <a:ext uri="{FF2B5EF4-FFF2-40B4-BE49-F238E27FC236}">
                <a16:creationId xmlns:a16="http://schemas.microsoft.com/office/drawing/2014/main" id="{7A383187-D814-E74B-9A0D-A2BD9F3D298C}"/>
              </a:ext>
            </a:extLst>
          </p:cNvPr>
          <p:cNvSpPr txBox="1">
            <a:spLocks noGrp="1"/>
          </p:cNvSpPr>
          <p:nvPr>
            <p:ph type="body" sz="quarter" idx="21" hasCustomPrompt="1"/>
          </p:nvPr>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a:solidFill>
                  <a:srgbClr val="005C9B"/>
                </a:solidFill>
              </a:defRPr>
            </a:lvl1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21/06/22</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spTree>
    <p:extLst>
      <p:ext uri="{BB962C8B-B14F-4D97-AF65-F5344CB8AC3E}">
        <p14:creationId xmlns:p14="http://schemas.microsoft.com/office/powerpoint/2010/main" val="947835991"/>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667">
                <a:solidFill>
                  <a:schemeClr val="tx1"/>
                </a:solidFill>
              </a:defRPr>
            </a:lvl1pPr>
          </a:lstStyle>
          <a:p>
            <a:r>
              <a:rPr lang="en-US"/>
              <a:t>Click to edit Master title style</a:t>
            </a:r>
            <a:endParaRPr lang="fr-FR"/>
          </a:p>
        </p:txBody>
      </p:sp>
      <p:sp>
        <p:nvSpPr>
          <p:cNvPr id="5" name="Slide Number Placeholder 4"/>
          <p:cNvSpPr>
            <a:spLocks noGrp="1"/>
          </p:cNvSpPr>
          <p:nvPr>
            <p:ph type="sldNum" sz="quarter" idx="12"/>
          </p:nvPr>
        </p:nvSpPr>
        <p:spPr>
          <a:xfrm>
            <a:off x="11526249" y="6340658"/>
            <a:ext cx="243656" cy="241092"/>
          </a:xfrm>
        </p:spPr>
        <p:txBody>
          <a:bodyPr/>
          <a:lstStyle/>
          <a:p>
            <a:fld id="{E7FE11C5-90C5-45EC-A27A-F16416FFBA16}" type="slidenum">
              <a:rPr lang="fr-FR" smtClean="0"/>
              <a:pPr/>
              <a:t>‹#›</a:t>
            </a:fld>
            <a:endParaRPr lang="fr-FR"/>
          </a:p>
        </p:txBody>
      </p:sp>
      <p:sp>
        <p:nvSpPr>
          <p:cNvPr id="6" name="Text Placeholder 23"/>
          <p:cNvSpPr>
            <a:spLocks noGrp="1"/>
          </p:cNvSpPr>
          <p:nvPr>
            <p:ph idx="1"/>
          </p:nvPr>
        </p:nvSpPr>
        <p:spPr>
          <a:xfrm>
            <a:off x="838200" y="1507067"/>
            <a:ext cx="10515600" cy="4669367"/>
          </a:xfrm>
          <a:prstGeom prst="rect">
            <a:avLst/>
          </a:prstGeom>
        </p:spPr>
        <p:txBody>
          <a:bodyPr vert="horz" lIns="91440" tIns="45720" rIns="91440" bIns="45720" rtlCol="0">
            <a:normAutofit/>
          </a:bodyPr>
          <a:lstStyle>
            <a:lvl1pPr>
              <a:buClrTx/>
              <a:defRPr>
                <a:solidFill>
                  <a:schemeClr val="tx1"/>
                </a:solidFill>
              </a:defRPr>
            </a:lvl1pPr>
            <a:lvl2pPr>
              <a:buClrTx/>
              <a:defRPr>
                <a:solidFill>
                  <a:schemeClr val="tx1"/>
                </a:solidFill>
              </a:defRPr>
            </a:lvl2pPr>
            <a:lvl3pPr>
              <a:buClrTx/>
              <a:defRPr>
                <a:solidFill>
                  <a:schemeClr val="tx1"/>
                </a:solidFill>
              </a:defRPr>
            </a:lvl3pPr>
            <a:lvl4pPr>
              <a:buClrTx/>
              <a:defRPr>
                <a:solidFill>
                  <a:schemeClr val="tx1"/>
                </a:solidFill>
              </a:defRPr>
            </a:lvl4pPr>
            <a:lvl5pPr>
              <a:buClrTx/>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6046106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re">
    <p:spTree>
      <p:nvGrpSpPr>
        <p:cNvPr id="1" name=""/>
        <p:cNvGrpSpPr/>
        <p:nvPr/>
      </p:nvGrpSpPr>
      <p:grpSpPr>
        <a:xfrm>
          <a:off x="0" y="0"/>
          <a:ext cx="0" cy="0"/>
          <a:chOff x="0" y="0"/>
          <a:chExt cx="0" cy="0"/>
        </a:xfrm>
      </p:grpSpPr>
      <p:pic>
        <p:nvPicPr>
          <p:cNvPr id="17" name="MES-masque PPT.jpg" descr="MES-masque PPT.jpg"/>
          <p:cNvPicPr>
            <a:picLocks noChangeAspect="1"/>
          </p:cNvPicPr>
          <p:nvPr userDrawn="1"/>
        </p:nvPicPr>
        <p:blipFill rotWithShape="1">
          <a:blip r:embed="rId2"/>
          <a:srcRect b="18743"/>
          <a:stretch/>
        </p:blipFill>
        <p:spPr>
          <a:xfrm>
            <a:off x="-1" y="1874"/>
            <a:ext cx="12192001" cy="5569586"/>
          </a:xfrm>
          <a:prstGeom prst="rect">
            <a:avLst/>
          </a:prstGeom>
          <a:ln w="12700">
            <a:miter lim="400000"/>
          </a:ln>
        </p:spPr>
      </p:pic>
      <p:sp>
        <p:nvSpPr>
          <p:cNvPr id="19" name="Titre de la présentation"/>
          <p:cNvSpPr txBox="1">
            <a:spLocks noGrp="1"/>
          </p:cNvSpPr>
          <p:nvPr>
            <p:ph type="title" hasCustomPrompt="1"/>
          </p:nvPr>
        </p:nvSpPr>
        <p:spPr>
          <a:xfrm>
            <a:off x="794902" y="2025265"/>
            <a:ext cx="6761760" cy="1263055"/>
          </a:xfrm>
          <a:prstGeom prst="rect">
            <a:avLst/>
          </a:prstGeom>
        </p:spPr>
        <p:txBody>
          <a:bodyPr anchor="b"/>
          <a:lstStyle>
            <a:lvl1pPr>
              <a:defRPr sz="3000" cap="all" spc="-60"/>
            </a:lvl1pPr>
          </a:lstStyle>
          <a:p>
            <a:r>
              <a:rPr err="1"/>
              <a:t>Titre</a:t>
            </a:r>
            <a:r>
              <a:t> de la </a:t>
            </a:r>
            <a:r>
              <a:rPr err="1"/>
              <a:t>présentation</a:t>
            </a:r>
            <a:endParaRPr/>
          </a:p>
        </p:txBody>
      </p:sp>
      <p:sp>
        <p:nvSpPr>
          <p:cNvPr id="21" name="Ligne"/>
          <p:cNvSpPr/>
          <p:nvPr/>
        </p:nvSpPr>
        <p:spPr>
          <a:xfrm>
            <a:off x="830437" y="3429000"/>
            <a:ext cx="6106157" cy="1"/>
          </a:xfrm>
          <a:prstGeom prst="line">
            <a:avLst/>
          </a:prstGeom>
          <a:ln w="114300">
            <a:solidFill>
              <a:srgbClr val="005C9B"/>
            </a:solidFill>
            <a:miter lim="400000"/>
          </a:ln>
        </p:spPr>
        <p:txBody>
          <a:bodyPr lIns="25400" tIns="25400" rIns="25400" bIns="25400" anchor="ctr"/>
          <a:lstStyle/>
          <a:p>
            <a:endParaRPr sz="900"/>
          </a:p>
        </p:txBody>
      </p:sp>
      <p:sp>
        <p:nvSpPr>
          <p:cNvPr id="22" name="Ligne"/>
          <p:cNvSpPr/>
          <p:nvPr/>
        </p:nvSpPr>
        <p:spPr>
          <a:xfrm>
            <a:off x="6926728" y="3429000"/>
            <a:ext cx="1785299" cy="22339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604" y="0"/>
                </a:lnTo>
                <a:lnTo>
                  <a:pt x="21600" y="505"/>
                </a:lnTo>
              </a:path>
            </a:pathLst>
          </a:custGeom>
          <a:ln w="114300">
            <a:solidFill>
              <a:srgbClr val="005C9B"/>
            </a:solidFill>
            <a:miter lim="400000"/>
          </a:ln>
        </p:spPr>
        <p:txBody>
          <a:bodyPr lIns="25400" tIns="25400" rIns="25400" bIns="25400" anchor="ctr"/>
          <a:lstStyle/>
          <a:p>
            <a:pPr>
              <a:defRPr>
                <a:solidFill>
                  <a:srgbClr val="005C9B"/>
                </a:solidFill>
              </a:defRPr>
            </a:pPr>
            <a:endParaRPr sz="900"/>
          </a:p>
        </p:txBody>
      </p:sp>
      <p:sp>
        <p:nvSpPr>
          <p:cNvPr id="23" name="Sur titre de la présentation"/>
          <p:cNvSpPr txBox="1">
            <a:spLocks noGrp="1"/>
          </p:cNvSpPr>
          <p:nvPr>
            <p:ph type="body" sz="quarter" idx="22"/>
          </p:nvPr>
        </p:nvSpPr>
        <p:spPr>
          <a:xfrm>
            <a:off x="794902" y="3537024"/>
            <a:ext cx="2880597" cy="302647"/>
          </a:xfrm>
          <a:prstGeom prst="rect">
            <a:avLst/>
          </a:prstGeom>
        </p:spPr>
        <p:txBody>
          <a:bodyPr wrap="none" anchor="ctr">
            <a:spAutoFit/>
          </a:bodyPr>
          <a:lstStyle>
            <a:lvl1pPr algn="ctr" defTabSz="1219169">
              <a:defRPr sz="1300" cap="all"/>
            </a:lvl1pPr>
          </a:lstStyle>
          <a:p>
            <a:r>
              <a:t>Sur </a:t>
            </a:r>
            <a:r>
              <a:rPr err="1"/>
              <a:t>titre</a:t>
            </a:r>
            <a:r>
              <a:t> de la </a:t>
            </a:r>
            <a:r>
              <a:rPr err="1"/>
              <a:t>présentation</a:t>
            </a:r>
            <a:endParaRPr/>
          </a:p>
        </p:txBody>
      </p:sp>
      <p:pic>
        <p:nvPicPr>
          <p:cNvPr id="10"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3"/>
          <a:stretch>
            <a:fillRect/>
          </a:stretch>
        </p:blipFill>
        <p:spPr>
          <a:xfrm>
            <a:off x="616672" y="373987"/>
            <a:ext cx="1999528" cy="2163424"/>
          </a:xfrm>
          <a:prstGeom prst="rect">
            <a:avLst/>
          </a:prstGeom>
          <a:ln w="12700">
            <a:miter lim="400000"/>
          </a:ln>
        </p:spPr>
      </p:pic>
      <p:pic>
        <p:nvPicPr>
          <p:cNvPr id="9" name="Graphique 8">
            <a:extLst>
              <a:ext uri="{FF2B5EF4-FFF2-40B4-BE49-F238E27FC236}">
                <a16:creationId xmlns:a16="http://schemas.microsoft.com/office/drawing/2014/main" id="{BA6711FC-B5BC-D940-821A-E4CB71FE228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425367" y="6043894"/>
            <a:ext cx="1021223" cy="300209"/>
          </a:xfrm>
          <a:prstGeom prst="rect">
            <a:avLst/>
          </a:prstGeom>
        </p:spPr>
      </p:pic>
      <p:pic>
        <p:nvPicPr>
          <p:cNvPr id="2" name="Imag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30673" y="5789538"/>
            <a:ext cx="1374633" cy="873055"/>
          </a:xfrm>
          <a:prstGeom prst="rect">
            <a:avLst/>
          </a:prstGeom>
        </p:spPr>
      </p:pic>
      <p:pic>
        <p:nvPicPr>
          <p:cNvPr id="14" name="Image 13">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2651231" y="5981745"/>
            <a:ext cx="1187427" cy="427901"/>
          </a:xfrm>
          <a:prstGeom prst="rect">
            <a:avLst/>
          </a:prstGeom>
        </p:spPr>
      </p:pic>
      <p:sp>
        <p:nvSpPr>
          <p:cNvPr id="20"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25"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6" name="Image 25"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8"/>
          <a:stretch>
            <a:fillRect/>
          </a:stretch>
        </p:blipFill>
        <p:spPr>
          <a:xfrm>
            <a:off x="4793695" y="5937991"/>
            <a:ext cx="1880873" cy="472713"/>
          </a:xfrm>
          <a:prstGeom prst="rect">
            <a:avLst/>
          </a:prstGeom>
        </p:spPr>
      </p:pic>
      <p:pic>
        <p:nvPicPr>
          <p:cNvPr id="15"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r="48884"/>
          <a:stretch/>
        </p:blipFill>
        <p:spPr bwMode="auto">
          <a:xfrm>
            <a:off x="6694629" y="5939498"/>
            <a:ext cx="518021"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1171666"/>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33" name="Titre du chapitre"/>
          <p:cNvSpPr txBox="1">
            <a:spLocks noGrp="1"/>
          </p:cNvSpPr>
          <p:nvPr>
            <p:ph type="body" sz="quarter" idx="22" hasCustomPrompt="1"/>
          </p:nvPr>
        </p:nvSpPr>
        <p:spPr>
          <a:xfrm>
            <a:off x="3450165" y="3390139"/>
            <a:ext cx="6761760" cy="1263055"/>
          </a:xfrm>
          <a:prstGeom prst="rect">
            <a:avLst/>
          </a:prstGeom>
        </p:spPr>
        <p:txBody>
          <a:bodyPr anchor="b"/>
          <a:lstStyle>
            <a:lvl1pPr defTabSz="1219169">
              <a:lnSpc>
                <a:spcPct val="80000"/>
              </a:lnSpc>
              <a:defRPr sz="3000" cap="all" spc="-60">
                <a:solidFill>
                  <a:srgbClr val="005C9B"/>
                </a:solidFill>
              </a:defRPr>
            </a:lvl1pPr>
          </a:lstStyle>
          <a:p>
            <a:r>
              <a:t>TITRE CHAPITRE</a:t>
            </a:r>
          </a:p>
        </p:txBody>
      </p:sp>
      <p:pic>
        <p:nvPicPr>
          <p:cNvPr id="11"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2"/>
          <a:stretch>
            <a:fillRect/>
          </a:stretch>
        </p:blipFill>
        <p:spPr>
          <a:xfrm>
            <a:off x="616672" y="373987"/>
            <a:ext cx="1999528" cy="2163424"/>
          </a:xfrm>
          <a:prstGeom prst="rect">
            <a:avLst/>
          </a:prstGeom>
          <a:ln w="12700">
            <a:miter lim="400000"/>
          </a:ln>
        </p:spPr>
      </p:pic>
      <p:sp>
        <p:nvSpPr>
          <p:cNvPr id="2" name="ZoneTexte 1"/>
          <p:cNvSpPr txBox="1"/>
          <p:nvPr userDrawn="1"/>
        </p:nvSpPr>
        <p:spPr>
          <a:xfrm>
            <a:off x="3450165" y="742962"/>
            <a:ext cx="6761760" cy="5642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2438338" rtl="0" fontAlgn="auto" latinLnBrk="0" hangingPunct="0">
              <a:lnSpc>
                <a:spcPct val="100000"/>
              </a:lnSpc>
              <a:spcBef>
                <a:spcPts val="0"/>
              </a:spcBef>
              <a:spcAft>
                <a:spcPts val="0"/>
              </a:spcAft>
              <a:buClrTx/>
              <a:buSzTx/>
              <a:buFontTx/>
              <a:buNone/>
              <a:tabLst/>
            </a:pPr>
            <a:r>
              <a:rPr lang="fr-FR" sz="3000" b="1" i="0" u="none" strike="noStrike" cap="all" spc="-60" baseline="0">
                <a:solidFill>
                  <a:srgbClr val="005C9B"/>
                </a:solidFill>
                <a:uFillTx/>
                <a:latin typeface="+mj-lt"/>
                <a:ea typeface="+mj-ea"/>
                <a:cs typeface="+mj-cs"/>
                <a:sym typeface="Helvetica Neue"/>
              </a:rPr>
              <a:t>ORDRE DU JOUR </a:t>
            </a:r>
          </a:p>
        </p:txBody>
      </p:sp>
      <p:sp>
        <p:nvSpPr>
          <p:cNvPr id="3" name="Espace réservé du numéro de diapositive 2"/>
          <p:cNvSpPr>
            <a:spLocks noGrp="1"/>
          </p:cNvSpPr>
          <p:nvPr>
            <p:ph type="sldNum" sz="quarter" idx="23"/>
          </p:nvPr>
        </p:nvSpPr>
        <p:spPr/>
        <p:txBody>
          <a:bodyPr/>
          <a:lstStyle/>
          <a:p>
            <a:fld id="{86CB4B4D-7CA3-9044-876B-883B54F8677D}" type="slidenum">
              <a:rPr lang="fr-FR" smtClean="0"/>
              <a:pPr/>
              <a:t>‹#›</a:t>
            </a:fld>
            <a:endParaRPr lang="fr-FR"/>
          </a:p>
        </p:txBody>
      </p:sp>
    </p:spTree>
    <p:extLst>
      <p:ext uri="{BB962C8B-B14F-4D97-AF65-F5344CB8AC3E}">
        <p14:creationId xmlns:p14="http://schemas.microsoft.com/office/powerpoint/2010/main" val="577209515"/>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hapitre">
    <p:spTree>
      <p:nvGrpSpPr>
        <p:cNvPr id="1" name=""/>
        <p:cNvGrpSpPr/>
        <p:nvPr/>
      </p:nvGrpSpPr>
      <p:grpSpPr>
        <a:xfrm>
          <a:off x="0" y="0"/>
          <a:ext cx="0" cy="0"/>
          <a:chOff x="0" y="0"/>
          <a:chExt cx="0" cy="0"/>
        </a:xfrm>
      </p:grpSpPr>
      <p:sp>
        <p:nvSpPr>
          <p:cNvPr id="33" name="Titre du chapitre"/>
          <p:cNvSpPr txBox="1">
            <a:spLocks noGrp="1"/>
          </p:cNvSpPr>
          <p:nvPr>
            <p:ph type="body" sz="quarter" idx="22" hasCustomPrompt="1"/>
          </p:nvPr>
        </p:nvSpPr>
        <p:spPr>
          <a:xfrm>
            <a:off x="3450165" y="3390139"/>
            <a:ext cx="6761760" cy="1263055"/>
          </a:xfrm>
          <a:prstGeom prst="rect">
            <a:avLst/>
          </a:prstGeom>
        </p:spPr>
        <p:txBody>
          <a:bodyPr anchor="b"/>
          <a:lstStyle>
            <a:lvl1pPr defTabSz="1219169">
              <a:lnSpc>
                <a:spcPct val="80000"/>
              </a:lnSpc>
              <a:defRPr sz="3000" cap="all" spc="-60">
                <a:solidFill>
                  <a:srgbClr val="005C9B"/>
                </a:solidFill>
              </a:defRPr>
            </a:lvl1pPr>
          </a:lstStyle>
          <a:p>
            <a:r>
              <a:t>TITRE CHAPITRE</a:t>
            </a:r>
          </a:p>
        </p:txBody>
      </p:sp>
      <p:pic>
        <p:nvPicPr>
          <p:cNvPr id="8" name="Logo-ReMES.png" descr="Logo-ReMES.png">
            <a:extLst>
              <a:ext uri="{FF2B5EF4-FFF2-40B4-BE49-F238E27FC236}">
                <a16:creationId xmlns:a16="http://schemas.microsoft.com/office/drawing/2014/main" id="{25275FFF-632A-6B46-96DE-FFAF89E4BDF9}"/>
              </a:ext>
            </a:extLst>
          </p:cNvPr>
          <p:cNvPicPr>
            <a:picLocks noChangeAspect="1"/>
          </p:cNvPicPr>
          <p:nvPr userDrawn="1"/>
        </p:nvPicPr>
        <p:blipFill>
          <a:blip r:embed="rId2"/>
          <a:stretch>
            <a:fillRect/>
          </a:stretch>
        </p:blipFill>
        <p:spPr>
          <a:xfrm>
            <a:off x="616672" y="373987"/>
            <a:ext cx="1999528" cy="2163424"/>
          </a:xfrm>
          <a:prstGeom prst="rect">
            <a:avLst/>
          </a:prstGeom>
          <a:ln w="12700">
            <a:miter lim="400000"/>
          </a:ln>
        </p:spPr>
      </p:pic>
      <p:sp>
        <p:nvSpPr>
          <p:cNvPr id="2" name="Espace réservé du numéro de diapositive 1"/>
          <p:cNvSpPr>
            <a:spLocks noGrp="1"/>
          </p:cNvSpPr>
          <p:nvPr>
            <p:ph type="sldNum" sz="quarter" idx="23"/>
          </p:nvPr>
        </p:nvSpPr>
        <p:spPr/>
        <p:txBody>
          <a:bodyPr/>
          <a:lstStyle/>
          <a:p>
            <a:fld id="{86CB4B4D-7CA3-9044-876B-883B54F8677D}" type="slidenum">
              <a:rPr lang="fr-FR" smtClean="0"/>
              <a:pPr/>
              <a:t>‹#›</a:t>
            </a:fld>
            <a:endParaRPr lang="fr-FR"/>
          </a:p>
        </p:txBody>
      </p:sp>
    </p:spTree>
    <p:extLst>
      <p:ext uri="{BB962C8B-B14F-4D97-AF65-F5344CB8AC3E}">
        <p14:creationId xmlns:p14="http://schemas.microsoft.com/office/powerpoint/2010/main" val="3164016775"/>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pic>
        <p:nvPicPr>
          <p:cNvPr id="19"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20" name="Imag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22" name="Image 21">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23"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24"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1"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9"/>
          <a:stretch>
            <a:fillRect/>
          </a:stretch>
        </p:blipFill>
        <p:spPr>
          <a:xfrm>
            <a:off x="4793695" y="6289220"/>
            <a:ext cx="1880873" cy="472713"/>
          </a:xfrm>
          <a:prstGeom prst="rect">
            <a:avLst/>
          </a:prstGeom>
        </p:spPr>
      </p:pic>
    </p:spTree>
    <p:extLst>
      <p:ext uri="{BB962C8B-B14F-4D97-AF65-F5344CB8AC3E}">
        <p14:creationId xmlns:p14="http://schemas.microsoft.com/office/powerpoint/2010/main" val="198121542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pic>
        <p:nvPicPr>
          <p:cNvPr id="15"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16" name="Imag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17" name="Image 16">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14"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8"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9"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5" name="Image 24"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8"/>
          <a:stretch>
            <a:fillRect/>
          </a:stretch>
        </p:blipFill>
        <p:spPr>
          <a:xfrm>
            <a:off x="4793695" y="6289220"/>
            <a:ext cx="1880873" cy="472713"/>
          </a:xfrm>
          <a:prstGeom prst="rect">
            <a:avLst/>
          </a:prstGeom>
        </p:spPr>
      </p:pic>
      <p:pic>
        <p:nvPicPr>
          <p:cNvPr id="20"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0162131"/>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pic>
        <p:nvPicPr>
          <p:cNvPr id="21"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22" name="Image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23" name="Image 22">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14"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5"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Commission d’Etablissement</a:t>
            </a:r>
          </a:p>
        </p:txBody>
      </p:sp>
      <p:pic>
        <p:nvPicPr>
          <p:cNvPr id="24" name="Image 23"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8"/>
          <a:stretch>
            <a:fillRect/>
          </a:stretch>
        </p:blipFill>
        <p:spPr>
          <a:xfrm>
            <a:off x="4793695" y="6289220"/>
            <a:ext cx="1880873" cy="472713"/>
          </a:xfrm>
          <a:prstGeom prst="rect">
            <a:avLst/>
          </a:prstGeom>
        </p:spPr>
      </p:pic>
      <p:pic>
        <p:nvPicPr>
          <p:cNvPr id="16"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1967457"/>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sp>
        <p:nvSpPr>
          <p:cNvPr id="17"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pic>
        <p:nvPicPr>
          <p:cNvPr id="19"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20" name="Imag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22" name="Image 21">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23"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24"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1"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9"/>
          <a:stretch>
            <a:fillRect/>
          </a:stretch>
        </p:blipFill>
        <p:spPr>
          <a:xfrm>
            <a:off x="4793695" y="6289220"/>
            <a:ext cx="1880873" cy="472713"/>
          </a:xfrm>
          <a:prstGeom prst="rect">
            <a:avLst/>
          </a:prstGeom>
        </p:spPr>
      </p:pic>
    </p:spTree>
    <p:extLst>
      <p:ext uri="{BB962C8B-B14F-4D97-AF65-F5344CB8AC3E}">
        <p14:creationId xmlns:p14="http://schemas.microsoft.com/office/powerpoint/2010/main" val="3867635451"/>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pic>
        <p:nvPicPr>
          <p:cNvPr id="15"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16" name="Imag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17" name="Image 16">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14"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8"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9"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5" name="Image 24"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8"/>
          <a:stretch>
            <a:fillRect/>
          </a:stretch>
        </p:blipFill>
        <p:spPr>
          <a:xfrm>
            <a:off x="4793695" y="6289220"/>
            <a:ext cx="1880873" cy="472713"/>
          </a:xfrm>
          <a:prstGeom prst="rect">
            <a:avLst/>
          </a:prstGeom>
        </p:spPr>
      </p:pic>
      <p:pic>
        <p:nvPicPr>
          <p:cNvPr id="20"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59267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tercalair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CA10F6-3E96-6540-9DE6-E2EBE1084AED}"/>
              </a:ext>
            </a:extLst>
          </p:cNvPr>
          <p:cNvSpPr/>
          <p:nvPr userDrawn="1"/>
        </p:nvSpPr>
        <p:spPr>
          <a:xfrm>
            <a:off x="0" y="0"/>
            <a:ext cx="12192000" cy="6858000"/>
          </a:xfrm>
          <a:prstGeom prst="rect">
            <a:avLst/>
          </a:prstGeom>
          <a:solidFill>
            <a:srgbClr val="D20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a:extLst>
              <a:ext uri="{FF2B5EF4-FFF2-40B4-BE49-F238E27FC236}">
                <a16:creationId xmlns:a16="http://schemas.microsoft.com/office/drawing/2014/main" id="{08563CFB-9621-6148-851E-1B8C0CB3DE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83956" y="519322"/>
            <a:ext cx="2641495" cy="793382"/>
          </a:xfrm>
          <a:prstGeom prst="rect">
            <a:avLst/>
          </a:prstGeom>
        </p:spPr>
      </p:pic>
      <p:pic>
        <p:nvPicPr>
          <p:cNvPr id="9" name="Image 8">
            <a:extLst>
              <a:ext uri="{FF2B5EF4-FFF2-40B4-BE49-F238E27FC236}">
                <a16:creationId xmlns:a16="http://schemas.microsoft.com/office/drawing/2014/main" id="{DEF446ED-4511-A742-BE50-4E198690D123}"/>
              </a:ext>
            </a:extLst>
          </p:cNvPr>
          <p:cNvPicPr>
            <a:picLocks noChangeAspect="1"/>
          </p:cNvPicPr>
          <p:nvPr userDrawn="1"/>
        </p:nvPicPr>
        <p:blipFill rotWithShape="1">
          <a:blip r:embed="rId3" cstate="email">
            <a:alphaModFix/>
            <a:extLst>
              <a:ext uri="{28A0092B-C50C-407E-A947-70E740481C1C}">
                <a14:useLocalDpi xmlns:a14="http://schemas.microsoft.com/office/drawing/2010/main"/>
              </a:ext>
            </a:extLst>
          </a:blip>
          <a:srcRect r="27434" b="23036"/>
          <a:stretch/>
        </p:blipFill>
        <p:spPr>
          <a:xfrm>
            <a:off x="7335293" y="860157"/>
            <a:ext cx="4856708" cy="5997844"/>
          </a:xfrm>
          <a:prstGeom prst="rect">
            <a:avLst/>
          </a:prstGeom>
        </p:spPr>
      </p:pic>
      <p:sp>
        <p:nvSpPr>
          <p:cNvPr id="12" name="Titre 1">
            <a:extLst>
              <a:ext uri="{FF2B5EF4-FFF2-40B4-BE49-F238E27FC236}">
                <a16:creationId xmlns:a16="http://schemas.microsoft.com/office/drawing/2014/main" id="{5209781F-2CF8-3246-A11F-87B28488C9E2}"/>
              </a:ext>
            </a:extLst>
          </p:cNvPr>
          <p:cNvSpPr>
            <a:spLocks noGrp="1"/>
          </p:cNvSpPr>
          <p:nvPr>
            <p:ph type="title" hasCustomPrompt="1"/>
          </p:nvPr>
        </p:nvSpPr>
        <p:spPr>
          <a:xfrm>
            <a:off x="490831" y="2285599"/>
            <a:ext cx="6332521" cy="1462781"/>
          </a:xfrm>
        </p:spPr>
        <p:txBody>
          <a:bodyPr lIns="0" tIns="0" rIns="0" bIns="0" anchor="b">
            <a:normAutofit/>
          </a:bodyPr>
          <a:lstStyle>
            <a:lvl1pPr>
              <a:defRPr lang="fr-FR" sz="4800" b="1" kern="1200" dirty="0">
                <a:solidFill>
                  <a:schemeClr val="bg1"/>
                </a:solidFill>
                <a:latin typeface="Arial" panose="020B0604020202020204" pitchFamily="34" charset="0"/>
                <a:ea typeface="+mn-ea"/>
                <a:cs typeface="Arial" panose="020B0604020202020204" pitchFamily="34" charset="0"/>
              </a:defRPr>
            </a:lvl1pPr>
          </a:lstStyle>
          <a:p>
            <a:r>
              <a:rPr lang="fr-FR"/>
              <a:t>TITRE DE LA PARTIE</a:t>
            </a:r>
            <a:br>
              <a:rPr lang="fr-FR"/>
            </a:br>
            <a:r>
              <a:rPr lang="fr-FR"/>
              <a:t>(INTERCALAIRE)</a:t>
            </a:r>
          </a:p>
        </p:txBody>
      </p:sp>
      <p:sp>
        <p:nvSpPr>
          <p:cNvPr id="13" name="Espace réservé du texte 2">
            <a:extLst>
              <a:ext uri="{FF2B5EF4-FFF2-40B4-BE49-F238E27FC236}">
                <a16:creationId xmlns:a16="http://schemas.microsoft.com/office/drawing/2014/main" id="{B4AD1FD0-4665-9D43-A14E-72B3BA3DDDE6}"/>
              </a:ext>
            </a:extLst>
          </p:cNvPr>
          <p:cNvSpPr>
            <a:spLocks noGrp="1"/>
          </p:cNvSpPr>
          <p:nvPr>
            <p:ph type="body" idx="1" hasCustomPrompt="1"/>
          </p:nvPr>
        </p:nvSpPr>
        <p:spPr>
          <a:xfrm>
            <a:off x="473828" y="3998745"/>
            <a:ext cx="4294640" cy="308562"/>
          </a:xfrm>
        </p:spPr>
        <p:txBody>
          <a:bodyPr lIns="0" tIns="0" rIns="0" bIns="0">
            <a:noAutofit/>
          </a:bodyPr>
          <a:lstStyle>
            <a:lvl1pPr marL="0" indent="0" algn="l" defTabSz="914400" rtl="0" eaLnBrk="1" latinLnBrk="0" hangingPunct="1">
              <a:lnSpc>
                <a:spcPts val="2400"/>
              </a:lnSpc>
              <a:buNone/>
              <a:defRPr lang="fr-FR" sz="2400" b="1" kern="1200" dirty="0">
                <a:solidFill>
                  <a:schemeClr val="bg1"/>
                </a:solidFill>
                <a:latin typeface="Arial" panose="020B0604020202020204" pitchFamily="34" charset="0"/>
                <a:ea typeface="+mn-ea"/>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fr-FR"/>
              <a:t>Sous-titre</a:t>
            </a:r>
          </a:p>
        </p:txBody>
      </p:sp>
      <p:sp>
        <p:nvSpPr>
          <p:cNvPr id="10" name="ZoneTexte 9">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chemeClr val="bg1"/>
                </a:solidFill>
                <a:latin typeface="Arial" panose="020B0604020202020204" pitchFamily="34" charset="0"/>
                <a:cs typeface="Arial" panose="020B0604020202020204" pitchFamily="34" charset="0"/>
              </a:rPr>
              <a:pPr>
                <a:lnSpc>
                  <a:spcPts val="1100"/>
                </a:lnSpc>
              </a:pPr>
              <a:t>‹#›</a:t>
            </a:fld>
            <a:r>
              <a:rPr lang="fr-FR" sz="850">
                <a:solidFill>
                  <a:schemeClr val="bg1"/>
                </a:solidFill>
                <a:latin typeface="Arial" panose="020B0604020202020204" pitchFamily="34" charset="0"/>
                <a:cs typeface="Arial" panose="020B0604020202020204" pitchFamily="34" charset="0"/>
              </a:rPr>
              <a:t> | Webinaire Mon</a:t>
            </a:r>
            <a:r>
              <a:rPr lang="fr-FR" sz="850" baseline="0">
                <a:solidFill>
                  <a:schemeClr val="bg1"/>
                </a:solidFill>
                <a:latin typeface="Arial" panose="020B0604020202020204" pitchFamily="34" charset="0"/>
                <a:cs typeface="Arial" panose="020B0604020202020204" pitchFamily="34" charset="0"/>
              </a:rPr>
              <a:t> espace santé </a:t>
            </a:r>
            <a:endParaRPr lang="fr-FR" sz="85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93103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Vierge">
    <p:spTree>
      <p:nvGrpSpPr>
        <p:cNvPr id="1" name=""/>
        <p:cNvGrpSpPr/>
        <p:nvPr/>
      </p:nvGrpSpPr>
      <p:grpSpPr>
        <a:xfrm>
          <a:off x="0" y="0"/>
          <a:ext cx="0" cy="0"/>
          <a:chOff x="0" y="0"/>
          <a:chExt cx="0" cy="0"/>
        </a:xfrm>
      </p:grpSpPr>
      <p:pic>
        <p:nvPicPr>
          <p:cNvPr id="18" name="MES-masque PPT2.jpg" descr="MES-masque PPT2.jpg">
            <a:extLst>
              <a:ext uri="{FF2B5EF4-FFF2-40B4-BE49-F238E27FC236}">
                <a16:creationId xmlns:a16="http://schemas.microsoft.com/office/drawing/2014/main" id="{9D85E3DD-9BFB-A842-8C58-B6B0A0C699A4}"/>
              </a:ext>
            </a:extLst>
          </p:cNvPr>
          <p:cNvPicPr>
            <a:picLocks noChangeAspect="1"/>
          </p:cNvPicPr>
          <p:nvPr userDrawn="1"/>
        </p:nvPicPr>
        <p:blipFill>
          <a:blip r:embed="rId2"/>
          <a:stretch>
            <a:fillRect/>
          </a:stretch>
        </p:blipFill>
        <p:spPr>
          <a:xfrm>
            <a:off x="-1" y="-1354"/>
            <a:ext cx="12192001" cy="6196413"/>
          </a:xfrm>
          <a:prstGeom prst="rect">
            <a:avLst/>
          </a:prstGeom>
          <a:ln w="12700">
            <a:miter lim="400000"/>
          </a:ln>
        </p:spPr>
      </p:pic>
      <p:sp>
        <p:nvSpPr>
          <p:cNvPr id="5" name="Ligne">
            <a:extLst>
              <a:ext uri="{FF2B5EF4-FFF2-40B4-BE49-F238E27FC236}">
                <a16:creationId xmlns:a16="http://schemas.microsoft.com/office/drawing/2014/main" id="{B204E05A-E282-2945-B2CF-94B0A7B24C53}"/>
              </a:ext>
            </a:extLst>
          </p:cNvPr>
          <p:cNvSpPr/>
          <p:nvPr userDrawn="1"/>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6" name="Ligne">
            <a:extLst>
              <a:ext uri="{FF2B5EF4-FFF2-40B4-BE49-F238E27FC236}">
                <a16:creationId xmlns:a16="http://schemas.microsoft.com/office/drawing/2014/main" id="{AD57DF94-146D-7B42-8BBB-DA85D3E8177E}"/>
              </a:ext>
            </a:extLst>
          </p:cNvPr>
          <p:cNvSpPr/>
          <p:nvPr userDrawn="1"/>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pic>
        <p:nvPicPr>
          <p:cNvPr id="7" name="Logo-ReMES.png" descr="Logo-ReMES.png">
            <a:extLst>
              <a:ext uri="{FF2B5EF4-FFF2-40B4-BE49-F238E27FC236}">
                <a16:creationId xmlns:a16="http://schemas.microsoft.com/office/drawing/2014/main" id="{A0710F5B-F91A-F643-B997-C9D2C9477555}"/>
              </a:ext>
            </a:extLst>
          </p:cNvPr>
          <p:cNvPicPr>
            <a:picLocks noChangeAspect="1"/>
          </p:cNvPicPr>
          <p:nvPr userDrawn="1"/>
        </p:nvPicPr>
        <p:blipFill>
          <a:blip r:embed="rId3"/>
          <a:stretch>
            <a:fillRect/>
          </a:stretch>
        </p:blipFill>
        <p:spPr>
          <a:xfrm>
            <a:off x="367659" y="362603"/>
            <a:ext cx="2707085" cy="2928978"/>
          </a:xfrm>
          <a:prstGeom prst="rect">
            <a:avLst/>
          </a:prstGeom>
          <a:ln w="12700">
            <a:miter lim="400000"/>
          </a:ln>
        </p:spPr>
      </p:pic>
      <p:sp>
        <p:nvSpPr>
          <p:cNvPr id="9" name="Titre de la présentation">
            <a:extLst>
              <a:ext uri="{FF2B5EF4-FFF2-40B4-BE49-F238E27FC236}">
                <a16:creationId xmlns:a16="http://schemas.microsoft.com/office/drawing/2014/main" id="{DFFB3011-F3C8-B848-B232-BFB5F7BBA78D}"/>
              </a:ext>
            </a:extLst>
          </p:cNvPr>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a:bodyPr>
          <a:lstStyle/>
          <a:p>
            <a:r>
              <a:rPr err="1"/>
              <a:t>Titre</a:t>
            </a:r>
            <a:r>
              <a:t> de la </a:t>
            </a:r>
            <a:r>
              <a:rPr err="1"/>
              <a:t>présentation</a:t>
            </a:r>
            <a:endParaRPr/>
          </a:p>
        </p:txBody>
      </p:sp>
      <p:sp>
        <p:nvSpPr>
          <p:cNvPr id="10" name="Texte niveau 1…">
            <a:extLst>
              <a:ext uri="{FF2B5EF4-FFF2-40B4-BE49-F238E27FC236}">
                <a16:creationId xmlns:a16="http://schemas.microsoft.com/office/drawing/2014/main" id="{A0D0F5D2-F873-674C-9AE6-AEB49A6857DA}"/>
              </a:ext>
            </a:extLst>
          </p:cNvPr>
          <p:cNvSpPr txBox="1">
            <a:spLocks noGrp="1"/>
          </p:cNvSpPr>
          <p:nvPr>
            <p:ph idx="1" hasCustomPrompt="1"/>
          </p:nvPr>
        </p:nvSpPr>
        <p:spPr>
          <a:xfrm>
            <a:off x="3442403" y="3955885"/>
            <a:ext cx="6266062" cy="7039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pic>
        <p:nvPicPr>
          <p:cNvPr id="21"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22" name="Image 2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23" name="Image 22">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14"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5"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Commission d’Etablissement</a:t>
            </a:r>
          </a:p>
        </p:txBody>
      </p:sp>
      <p:pic>
        <p:nvPicPr>
          <p:cNvPr id="24" name="Image 23"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8"/>
          <a:stretch>
            <a:fillRect/>
          </a:stretch>
        </p:blipFill>
        <p:spPr>
          <a:xfrm>
            <a:off x="4793695" y="6289220"/>
            <a:ext cx="1880873" cy="472713"/>
          </a:xfrm>
          <a:prstGeom prst="rect">
            <a:avLst/>
          </a:prstGeom>
        </p:spPr>
      </p:pic>
      <p:pic>
        <p:nvPicPr>
          <p:cNvPr id="16"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val="0"/>
              </a:ext>
            </a:extLst>
          </a:blip>
          <a:srcRect r="47197"/>
          <a:stretch/>
        </p:blipFill>
        <p:spPr bwMode="auto">
          <a:xfrm>
            <a:off x="6694629" y="6290475"/>
            <a:ext cx="535113"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37623"/>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Titre et puces">
    <p:spTree>
      <p:nvGrpSpPr>
        <p:cNvPr id="1" name=""/>
        <p:cNvGrpSpPr/>
        <p:nvPr/>
      </p:nvGrpSpPr>
      <p:grpSpPr>
        <a:xfrm>
          <a:off x="0" y="0"/>
          <a:ext cx="0" cy="0"/>
          <a:chOff x="0" y="0"/>
          <a:chExt cx="0" cy="0"/>
        </a:xfrm>
      </p:grpSpPr>
      <p:pic>
        <p:nvPicPr>
          <p:cNvPr id="40" name="MES-masque PPT3.jpg" descr="MES-masque PPT3.jpg"/>
          <p:cNvPicPr>
            <a:picLocks noChangeAspect="1"/>
          </p:cNvPicPr>
          <p:nvPr/>
        </p:nvPicPr>
        <p:blipFill rotWithShape="1">
          <a:blip r:embed="rId2"/>
          <a:srcRect b="18035"/>
          <a:stretch/>
        </p:blipFill>
        <p:spPr>
          <a:xfrm>
            <a:off x="-1" y="-13855"/>
            <a:ext cx="12192001" cy="1613733"/>
          </a:xfrm>
          <a:prstGeom prst="rect">
            <a:avLst/>
          </a:prstGeom>
          <a:ln w="12700">
            <a:miter lim="400000"/>
          </a:ln>
        </p:spPr>
      </p:pic>
      <p:sp>
        <p:nvSpPr>
          <p:cNvPr id="41" name="Texte niveau 1…"/>
          <p:cNvSpPr txBox="1">
            <a:spLocks noGrp="1"/>
          </p:cNvSpPr>
          <p:nvPr>
            <p:ph type="body" sz="half" idx="1" hasCustomPrompt="1"/>
          </p:nvPr>
        </p:nvSpPr>
        <p:spPr>
          <a:xfrm>
            <a:off x="2313517" y="2437519"/>
            <a:ext cx="9156370" cy="3359471"/>
          </a:xfrm>
          <a:prstGeom prst="rect">
            <a:avLst/>
          </a:prstGeom>
        </p:spPr>
        <p:txBody>
          <a:bodyPr/>
          <a:lstStyle>
            <a:lvl1pPr marL="254000" indent="-254000" defTabSz="1219169">
              <a:lnSpc>
                <a:spcPct val="80000"/>
              </a:lnSpc>
              <a:spcBef>
                <a:spcPts val="2250"/>
              </a:spcBef>
              <a:buSzPct val="123000"/>
              <a:buChar char="•"/>
              <a:defRPr sz="2000" b="0">
                <a:solidFill>
                  <a:srgbClr val="000000"/>
                </a:solidFill>
              </a:defRPr>
            </a:lvl1pPr>
            <a:lvl2pPr marL="520700" indent="-215900" defTabSz="1219169">
              <a:lnSpc>
                <a:spcPct val="80000"/>
              </a:lnSpc>
              <a:spcBef>
                <a:spcPts val="2250"/>
              </a:spcBef>
              <a:buSzPct val="123000"/>
              <a:buChar char="•"/>
              <a:defRPr sz="1700" b="0">
                <a:solidFill>
                  <a:srgbClr val="000000"/>
                </a:solidFill>
              </a:defRPr>
            </a:lvl2pPr>
            <a:lvl3pPr marL="800100" indent="-190500" defTabSz="1219169">
              <a:lnSpc>
                <a:spcPct val="80000"/>
              </a:lnSpc>
              <a:spcBef>
                <a:spcPts val="2250"/>
              </a:spcBef>
              <a:buSzPct val="123000"/>
              <a:buChar char="•"/>
              <a:defRPr sz="1500" b="0">
                <a:solidFill>
                  <a:srgbClr val="000000"/>
                </a:solidFill>
              </a:defRPr>
            </a:lvl3pPr>
            <a:lvl4pPr marL="1104900" indent="-190500" defTabSz="1219169">
              <a:lnSpc>
                <a:spcPct val="80000"/>
              </a:lnSpc>
              <a:spcBef>
                <a:spcPts val="2250"/>
              </a:spcBef>
              <a:buSzPct val="123000"/>
              <a:buChar char="•"/>
              <a:defRPr sz="1500" b="0">
                <a:solidFill>
                  <a:srgbClr val="000000"/>
                </a:solidFill>
              </a:defRPr>
            </a:lvl4pPr>
            <a:lvl5pPr marL="1409700" indent="-190500" defTabSz="1219169">
              <a:lnSpc>
                <a:spcPct val="80000"/>
              </a:lnSpc>
              <a:spcBef>
                <a:spcPts val="2250"/>
              </a:spcBef>
              <a:buSzPct val="123000"/>
              <a:buChar char="•"/>
              <a:defRPr sz="1500" b="0">
                <a:solidFill>
                  <a:srgbClr val="000000"/>
                </a:solidFill>
              </a:defRPr>
            </a:lvl5pPr>
          </a:lstStyle>
          <a:p>
            <a:r>
              <a:rPr err="1"/>
              <a:t>Texte</a:t>
            </a:r>
            <a:r>
              <a:t> de puce de diapositive</a:t>
            </a:r>
          </a:p>
          <a:p>
            <a:pPr lvl="1"/>
            <a:endParaRPr/>
          </a:p>
          <a:p>
            <a:pPr lvl="2"/>
            <a:endParaRPr/>
          </a:p>
          <a:p>
            <a:pPr lvl="3"/>
            <a:endParaRPr/>
          </a:p>
          <a:p>
            <a:pPr lvl="4"/>
            <a:endParaRPr/>
          </a:p>
        </p:txBody>
      </p:sp>
      <p:pic>
        <p:nvPicPr>
          <p:cNvPr id="43" name="Logo-ReMES.png" descr="Logo-ReMES.png"/>
          <p:cNvPicPr>
            <a:picLocks noChangeAspect="1"/>
          </p:cNvPicPr>
          <p:nvPr/>
        </p:nvPicPr>
        <p:blipFill>
          <a:blip r:embed="rId3"/>
          <a:stretch>
            <a:fillRect/>
          </a:stretch>
        </p:blipFill>
        <p:spPr>
          <a:xfrm>
            <a:off x="222482" y="16625"/>
            <a:ext cx="1415817" cy="1531867"/>
          </a:xfrm>
          <a:prstGeom prst="rect">
            <a:avLst/>
          </a:prstGeom>
          <a:ln w="12700">
            <a:miter lim="400000"/>
          </a:ln>
        </p:spPr>
      </p:pic>
      <p:sp>
        <p:nvSpPr>
          <p:cNvPr id="45" name="Ligne"/>
          <p:cNvSpPr/>
          <p:nvPr/>
        </p:nvSpPr>
        <p:spPr>
          <a:xfrm>
            <a:off x="2318430" y="1153622"/>
            <a:ext cx="7224831" cy="1"/>
          </a:xfrm>
          <a:prstGeom prst="line">
            <a:avLst/>
          </a:prstGeom>
          <a:ln w="63500">
            <a:solidFill>
              <a:srgbClr val="005C9B"/>
            </a:solidFill>
            <a:miter lim="400000"/>
          </a:ln>
        </p:spPr>
        <p:txBody>
          <a:bodyPr lIns="25400" tIns="25400" rIns="25400" bIns="25400" anchor="ctr"/>
          <a:lstStyle/>
          <a:p>
            <a:endParaRPr sz="900"/>
          </a:p>
        </p:txBody>
      </p:sp>
      <p:sp>
        <p:nvSpPr>
          <p:cNvPr id="46" name="Ligne"/>
          <p:cNvSpPr/>
          <p:nvPr/>
        </p:nvSpPr>
        <p:spPr>
          <a:xfrm>
            <a:off x="9533395" y="1146312"/>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63500">
            <a:solidFill>
              <a:srgbClr val="005C9B"/>
            </a:solidFill>
            <a:miter lim="400000"/>
          </a:ln>
        </p:spPr>
        <p:txBody>
          <a:bodyPr lIns="25400" tIns="25400" rIns="25400" bIns="25400" anchor="ctr"/>
          <a:lstStyle/>
          <a:p>
            <a:pPr>
              <a:defRPr>
                <a:solidFill>
                  <a:srgbClr val="005C9B"/>
                </a:solidFill>
              </a:defRPr>
            </a:pPr>
            <a:endParaRPr sz="900"/>
          </a:p>
        </p:txBody>
      </p:sp>
      <p:sp>
        <p:nvSpPr>
          <p:cNvPr id="12" name="Titre 1">
            <a:extLst>
              <a:ext uri="{FF2B5EF4-FFF2-40B4-BE49-F238E27FC236}">
                <a16:creationId xmlns:a16="http://schemas.microsoft.com/office/drawing/2014/main" id="{D00C3AFE-F4E7-CE4A-AEA1-5618EB75DD74}"/>
              </a:ext>
            </a:extLst>
          </p:cNvPr>
          <p:cNvSpPr>
            <a:spLocks noGrp="1"/>
          </p:cNvSpPr>
          <p:nvPr>
            <p:ph type="title" hasCustomPrompt="1"/>
          </p:nvPr>
        </p:nvSpPr>
        <p:spPr>
          <a:xfrm>
            <a:off x="2313517" y="16625"/>
            <a:ext cx="6984241" cy="1133342"/>
          </a:xfrm>
        </p:spPr>
        <p:txBody>
          <a:bodyPr anchor="b"/>
          <a:lstStyle/>
          <a:p>
            <a:r>
              <a:rPr lang="fr-FR"/>
              <a:t>MODIFIEZ LE STYLE DU TITRE</a:t>
            </a:r>
          </a:p>
        </p:txBody>
      </p:sp>
      <p:pic>
        <p:nvPicPr>
          <p:cNvPr id="15"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12819" y="6390559"/>
            <a:ext cx="819724" cy="240974"/>
          </a:xfrm>
          <a:prstGeom prst="rect">
            <a:avLst/>
          </a:prstGeom>
        </p:spPr>
      </p:pic>
      <p:pic>
        <p:nvPicPr>
          <p:cNvPr id="16" name="Image 1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17" name="Image 16">
            <a:extLst>
              <a:ext uri="{FF2B5EF4-FFF2-40B4-BE49-F238E27FC236}">
                <a16:creationId xmlns:a16="http://schemas.microsoft.com/office/drawing/2014/main" id="{2243E6BC-6888-406A-B31F-4F493CFF85EF}"/>
              </a:ext>
            </a:extLst>
          </p:cNvPr>
          <p:cNvPicPr>
            <a:picLocks noChangeAspect="1"/>
          </p:cNvPicPr>
          <p:nvPr userDrawn="1"/>
        </p:nvPicPr>
        <p:blipFill>
          <a:blip r:embed="rId7"/>
          <a:stretch>
            <a:fillRect/>
          </a:stretch>
        </p:blipFill>
        <p:spPr>
          <a:xfrm>
            <a:off x="1993865" y="6340658"/>
            <a:ext cx="989967" cy="356744"/>
          </a:xfrm>
          <a:prstGeom prst="rect">
            <a:avLst/>
          </a:prstGeom>
        </p:spPr>
      </p:pic>
      <p:sp>
        <p:nvSpPr>
          <p:cNvPr id="14" name="Ligne">
            <a:extLst>
              <a:ext uri="{FF2B5EF4-FFF2-40B4-BE49-F238E27FC236}">
                <a16:creationId xmlns:a16="http://schemas.microsoft.com/office/drawing/2014/main" id="{EEC26EF3-16DB-0049-9F50-E599677CA0A6}"/>
              </a:ext>
            </a:extLst>
          </p:cNvPr>
          <p:cNvSpPr/>
          <p:nvPr userDrawn="1"/>
        </p:nvSpPr>
        <p:spPr>
          <a:xfrm flipV="1">
            <a:off x="327103" y="6154495"/>
            <a:ext cx="11434174" cy="7148"/>
          </a:xfrm>
          <a:prstGeom prst="line">
            <a:avLst/>
          </a:prstGeom>
          <a:ln w="50800">
            <a:solidFill>
              <a:srgbClr val="005C9B"/>
            </a:solidFill>
            <a:miter lim="400000"/>
          </a:ln>
        </p:spPr>
        <p:txBody>
          <a:bodyPr lIns="25400" tIns="25400" rIns="25400" bIns="25400" anchor="ctr"/>
          <a:lstStyle/>
          <a:p>
            <a:endParaRPr sz="900"/>
          </a:p>
        </p:txBody>
      </p:sp>
      <p:sp>
        <p:nvSpPr>
          <p:cNvPr id="18"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9"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24"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6694629" y="6290475"/>
            <a:ext cx="1013412" cy="480556"/>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9"/>
          <a:stretch>
            <a:fillRect/>
          </a:stretch>
        </p:blipFill>
        <p:spPr>
          <a:xfrm>
            <a:off x="4793695" y="6289220"/>
            <a:ext cx="1880873" cy="472713"/>
          </a:xfrm>
          <a:prstGeom prst="rect">
            <a:avLst/>
          </a:prstGeom>
        </p:spPr>
      </p:pic>
    </p:spTree>
    <p:extLst>
      <p:ext uri="{BB962C8B-B14F-4D97-AF65-F5344CB8AC3E}">
        <p14:creationId xmlns:p14="http://schemas.microsoft.com/office/powerpoint/2010/main" val="130060882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ge article avec logo MSS">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37D0B4C5-1680-CA44-8FB5-1F5F70BE85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014208"/>
            <a:ext cx="3662774" cy="2291124"/>
          </a:xfrm>
          <a:prstGeom prst="rect">
            <a:avLst/>
          </a:prstGeom>
        </p:spPr>
      </p:pic>
      <p:pic>
        <p:nvPicPr>
          <p:cNvPr id="7" name="Image 6">
            <a:extLst>
              <a:ext uri="{FF2B5EF4-FFF2-40B4-BE49-F238E27FC236}">
                <a16:creationId xmlns:a16="http://schemas.microsoft.com/office/drawing/2014/main" id="{794A2F6D-3469-C841-9F39-9AA0B64846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673"/>
            <a:ext cx="12191999" cy="6854652"/>
          </a:xfrm>
          <a:prstGeom prst="rect">
            <a:avLst/>
          </a:prstGeom>
        </p:spPr>
      </p:pic>
      <p:pic>
        <p:nvPicPr>
          <p:cNvPr id="11" name="Image 10">
            <a:extLst>
              <a:ext uri="{FF2B5EF4-FFF2-40B4-BE49-F238E27FC236}">
                <a16:creationId xmlns:a16="http://schemas.microsoft.com/office/drawing/2014/main" id="{675045FC-21AB-8341-BFC2-4A16AC088D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12" name="Connecteur droit 11">
            <a:extLst>
              <a:ext uri="{FF2B5EF4-FFF2-40B4-BE49-F238E27FC236}">
                <a16:creationId xmlns:a16="http://schemas.microsoft.com/office/drawing/2014/main" id="{83CF3C63-C2E5-F14C-A190-AEA1F151930B}"/>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8" name="Titre 1">
            <a:extLst>
              <a:ext uri="{FF2B5EF4-FFF2-40B4-BE49-F238E27FC236}">
                <a16:creationId xmlns:a16="http://schemas.microsoft.com/office/drawing/2014/main" id="{DDCD3B5B-05E9-A849-8625-33CB5A51FD8D}"/>
              </a:ext>
            </a:extLst>
          </p:cNvPr>
          <p:cNvSpPr>
            <a:spLocks noGrp="1"/>
          </p:cNvSpPr>
          <p:nvPr>
            <p:ph type="title" hasCustomPrompt="1"/>
          </p:nvPr>
        </p:nvSpPr>
        <p:spPr>
          <a:xfrm>
            <a:off x="3422821" y="1799198"/>
            <a:ext cx="7484076"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08808046-E445-DE40-A5C0-05567F14E027}"/>
              </a:ext>
            </a:extLst>
          </p:cNvPr>
          <p:cNvSpPr>
            <a:spLocks noGrp="1"/>
          </p:cNvSpPr>
          <p:nvPr>
            <p:ph sz="half" idx="1" hasCustomPrompt="1"/>
          </p:nvPr>
        </p:nvSpPr>
        <p:spPr>
          <a:xfrm>
            <a:off x="3422821" y="2376618"/>
            <a:ext cx="7484076"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 con </a:t>
            </a:r>
            <a:r>
              <a:rPr lang="fr-FR" sz="1400" err="1">
                <a:latin typeface="Arial" panose="020B0604020202020204" pitchFamily="34" charset="0"/>
                <a:cs typeface="Arial" panose="020B0604020202020204" pitchFamily="34" charset="0"/>
              </a:rPr>
              <a:t>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imusd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erum</a:t>
            </a:r>
            <a:r>
              <a:rPr lang="fr-FR" sz="1400">
                <a:latin typeface="Arial" panose="020B0604020202020204" pitchFamily="34" charset="0"/>
                <a:cs typeface="Arial" panose="020B0604020202020204" pitchFamily="34" charset="0"/>
              </a:rPr>
              <a:t> ex </a:t>
            </a:r>
            <a:r>
              <a:rPr lang="fr-FR" sz="1400" err="1">
                <a:latin typeface="Arial" panose="020B0604020202020204" pitchFamily="34" charset="0"/>
                <a:cs typeface="Arial" panose="020B0604020202020204" pitchFamily="34" charset="0"/>
              </a:rPr>
              <a:t>explicia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se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am</a:t>
            </a:r>
            <a:r>
              <a:rPr lang="fr-FR" sz="1400">
                <a:latin typeface="Arial" panose="020B0604020202020204" pitchFamily="34" charset="0"/>
                <a:cs typeface="Arial" panose="020B0604020202020204" pitchFamily="34" charset="0"/>
              </a:rPr>
              <a:t> que et ut </a:t>
            </a:r>
            <a:r>
              <a:rPr lang="fr-FR" sz="1400" err="1">
                <a:latin typeface="Arial" panose="020B0604020202020204" pitchFamily="34" charset="0"/>
                <a:cs typeface="Arial" panose="020B0604020202020204" pitchFamily="34" charset="0"/>
              </a:rPr>
              <a:t>vol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or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accaboria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ommo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offic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ribusci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pe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rernat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bu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tota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litatem</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Ehent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i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iori</a:t>
            </a:r>
            <a:r>
              <a:rPr lang="fr-FR" sz="1400">
                <a:latin typeface="Arial" panose="020B0604020202020204" pitchFamily="34" charset="0"/>
                <a:cs typeface="Arial" panose="020B0604020202020204" pitchFamily="34" charset="0"/>
              </a:rPr>
              <a:t> dit, </a:t>
            </a:r>
            <a:r>
              <a:rPr lang="fr-FR" sz="1400" err="1">
                <a:latin typeface="Arial" panose="020B0604020202020204" pitchFamily="34" charset="0"/>
                <a:cs typeface="Arial" panose="020B0604020202020204" pitchFamily="34" charset="0"/>
              </a:rPr>
              <a:t>sundio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perum</a:t>
            </a:r>
            <a:endParaRPr lang="fr-FR" sz="1400">
              <a:latin typeface="Arial" panose="020B0604020202020204" pitchFamily="34" charset="0"/>
              <a:cs typeface="Arial" panose="020B0604020202020204" pitchFamily="34" charset="0"/>
            </a:endParaRPr>
          </a:p>
        </p:txBody>
      </p:sp>
      <p:sp>
        <p:nvSpPr>
          <p:cNvPr id="22" name="Espace réservé du texte 21">
            <a:extLst>
              <a:ext uri="{FF2B5EF4-FFF2-40B4-BE49-F238E27FC236}">
                <a16:creationId xmlns:a16="http://schemas.microsoft.com/office/drawing/2014/main" id="{5B1D212D-1CBD-084D-8AB1-D8E338E054DB}"/>
              </a:ext>
            </a:extLst>
          </p:cNvPr>
          <p:cNvSpPr>
            <a:spLocks noGrp="1"/>
          </p:cNvSpPr>
          <p:nvPr>
            <p:ph type="body" sz="quarter" idx="10" hasCustomPrompt="1"/>
          </p:nvPr>
        </p:nvSpPr>
        <p:spPr>
          <a:xfrm>
            <a:off x="3954115" y="716882"/>
            <a:ext cx="7063618"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pic>
        <p:nvPicPr>
          <p:cNvPr id="23" name="Image 22">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10734675" y="202629"/>
            <a:ext cx="1325136" cy="819053"/>
          </a:xfrm>
          <a:prstGeom prst="rect">
            <a:avLst/>
          </a:prstGeom>
        </p:spPr>
      </p:pic>
      <p:sp>
        <p:nvSpPr>
          <p:cNvPr id="28" name="ZoneTexte 27">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a:t>
            </a:r>
            <a:endParaRPr lang="fr-FR" sz="850">
              <a:solidFill>
                <a:srgbClr val="6F7072"/>
              </a:solidFill>
              <a:latin typeface="Arial" panose="020B0604020202020204" pitchFamily="34" charset="0"/>
              <a:cs typeface="Arial" panose="020B0604020202020204" pitchFamily="34" charset="0"/>
            </a:endParaRPr>
          </a:p>
        </p:txBody>
      </p:sp>
      <p:pic>
        <p:nvPicPr>
          <p:cNvPr id="15" name="Image 14">
            <a:extLst>
              <a:ext uri="{FF2B5EF4-FFF2-40B4-BE49-F238E27FC236}">
                <a16:creationId xmlns:a16="http://schemas.microsoft.com/office/drawing/2014/main" id="{2243E6BC-6888-406A-B31F-4F493CFF85EF}"/>
              </a:ext>
            </a:extLst>
          </p:cNvPr>
          <p:cNvPicPr>
            <a:picLocks noChangeAspect="1"/>
          </p:cNvPicPr>
          <p:nvPr userDrawn="1"/>
        </p:nvPicPr>
        <p:blipFill>
          <a:blip r:embed="rId6"/>
          <a:stretch>
            <a:fillRect/>
          </a:stretch>
        </p:blipFill>
        <p:spPr>
          <a:xfrm>
            <a:off x="9532787" y="6155877"/>
            <a:ext cx="1186973" cy="427738"/>
          </a:xfrm>
          <a:prstGeom prst="rect">
            <a:avLst/>
          </a:prstGeom>
        </p:spPr>
      </p:pic>
      <p:pic>
        <p:nvPicPr>
          <p:cNvPr id="16" name="Image 15"/>
          <p:cNvPicPr>
            <a:picLocks noChangeAspect="1"/>
          </p:cNvPicPr>
          <p:nvPr userDrawn="1"/>
        </p:nvPicPr>
        <p:blipFill>
          <a:blip r:embed="rId7"/>
          <a:stretch>
            <a:fillRect/>
          </a:stretch>
        </p:blipFill>
        <p:spPr>
          <a:xfrm>
            <a:off x="10788858" y="6085944"/>
            <a:ext cx="1375434" cy="584830"/>
          </a:xfrm>
          <a:prstGeom prst="rect">
            <a:avLst/>
          </a:prstGeom>
        </p:spPr>
      </p:pic>
      <p:pic>
        <p:nvPicPr>
          <p:cNvPr id="17"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63783" y="6084949"/>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56882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age article">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BF51FF9-91D6-DB4F-8D0F-4EAD402061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014208"/>
            <a:ext cx="3662774" cy="2291124"/>
          </a:xfrm>
          <a:prstGeom prst="rect">
            <a:avLst/>
          </a:prstGeom>
        </p:spPr>
      </p:pic>
      <p:pic>
        <p:nvPicPr>
          <p:cNvPr id="7" name="Image 6">
            <a:extLst>
              <a:ext uri="{FF2B5EF4-FFF2-40B4-BE49-F238E27FC236}">
                <a16:creationId xmlns:a16="http://schemas.microsoft.com/office/drawing/2014/main" id="{794A2F6D-3469-C841-9F39-9AA0B64846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1673"/>
            <a:ext cx="12191999" cy="6854652"/>
          </a:xfrm>
          <a:prstGeom prst="rect">
            <a:avLst/>
          </a:prstGeom>
        </p:spPr>
      </p:pic>
      <p:pic>
        <p:nvPicPr>
          <p:cNvPr id="11" name="Image 10">
            <a:extLst>
              <a:ext uri="{FF2B5EF4-FFF2-40B4-BE49-F238E27FC236}">
                <a16:creationId xmlns:a16="http://schemas.microsoft.com/office/drawing/2014/main" id="{675045FC-21AB-8341-BFC2-4A16AC088D5A}"/>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12" name="Connecteur droit 11">
            <a:extLst>
              <a:ext uri="{FF2B5EF4-FFF2-40B4-BE49-F238E27FC236}">
                <a16:creationId xmlns:a16="http://schemas.microsoft.com/office/drawing/2014/main" id="{83CF3C63-C2E5-F14C-A190-AEA1F151930B}"/>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8" name="Titre 1">
            <a:extLst>
              <a:ext uri="{FF2B5EF4-FFF2-40B4-BE49-F238E27FC236}">
                <a16:creationId xmlns:a16="http://schemas.microsoft.com/office/drawing/2014/main" id="{DDCD3B5B-05E9-A849-8625-33CB5A51FD8D}"/>
              </a:ext>
            </a:extLst>
          </p:cNvPr>
          <p:cNvSpPr>
            <a:spLocks noGrp="1"/>
          </p:cNvSpPr>
          <p:nvPr>
            <p:ph type="title" hasCustomPrompt="1"/>
          </p:nvPr>
        </p:nvSpPr>
        <p:spPr>
          <a:xfrm>
            <a:off x="3422821" y="1799198"/>
            <a:ext cx="7484076" cy="480400"/>
          </a:xfrm>
        </p:spPr>
        <p:txBody>
          <a:bodyPr lIns="0" tIns="0" rIns="0" bIns="0">
            <a:norm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9" name="Espace réservé du contenu 2">
            <a:extLst>
              <a:ext uri="{FF2B5EF4-FFF2-40B4-BE49-F238E27FC236}">
                <a16:creationId xmlns:a16="http://schemas.microsoft.com/office/drawing/2014/main" id="{08808046-E445-DE40-A5C0-05567F14E027}"/>
              </a:ext>
            </a:extLst>
          </p:cNvPr>
          <p:cNvSpPr>
            <a:spLocks noGrp="1"/>
          </p:cNvSpPr>
          <p:nvPr>
            <p:ph sz="half" idx="1" hasCustomPrompt="1"/>
          </p:nvPr>
        </p:nvSpPr>
        <p:spPr>
          <a:xfrm>
            <a:off x="3422821" y="2376618"/>
            <a:ext cx="7484076" cy="3054491"/>
          </a:xfrm>
        </p:spPr>
        <p:txBody>
          <a:bodyPr lIns="0" tIns="0" rIns="0" bIns="0">
            <a:norm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 con </a:t>
            </a:r>
            <a:r>
              <a:rPr lang="fr-FR" sz="1400" err="1">
                <a:latin typeface="Arial" panose="020B0604020202020204" pitchFamily="34" charset="0"/>
                <a:cs typeface="Arial" panose="020B0604020202020204" pitchFamily="34" charset="0"/>
              </a:rPr>
              <a:t>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imusd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erum</a:t>
            </a:r>
            <a:r>
              <a:rPr lang="fr-FR" sz="1400">
                <a:latin typeface="Arial" panose="020B0604020202020204" pitchFamily="34" charset="0"/>
                <a:cs typeface="Arial" panose="020B0604020202020204" pitchFamily="34" charset="0"/>
              </a:rPr>
              <a:t> ex </a:t>
            </a:r>
            <a:r>
              <a:rPr lang="fr-FR" sz="1400" err="1">
                <a:latin typeface="Arial" panose="020B0604020202020204" pitchFamily="34" charset="0"/>
                <a:cs typeface="Arial" panose="020B0604020202020204" pitchFamily="34" charset="0"/>
              </a:rPr>
              <a:t>explicia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sequi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am</a:t>
            </a:r>
            <a:r>
              <a:rPr lang="fr-FR" sz="1400">
                <a:latin typeface="Arial" panose="020B0604020202020204" pitchFamily="34" charset="0"/>
                <a:cs typeface="Arial" panose="020B0604020202020204" pitchFamily="34" charset="0"/>
              </a:rPr>
              <a:t> que et ut </a:t>
            </a:r>
            <a:r>
              <a:rPr lang="fr-FR" sz="1400" err="1">
                <a:latin typeface="Arial" panose="020B0604020202020204" pitchFamily="34" charset="0"/>
                <a:cs typeface="Arial" panose="020B0604020202020204" pitchFamily="34" charset="0"/>
              </a:rPr>
              <a:t>vol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or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e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accaboria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ommo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offic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ribuscil</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pe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be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rernati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bu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estota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litatem</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Ehent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i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luptiori</a:t>
            </a:r>
            <a:r>
              <a:rPr lang="fr-FR" sz="1400">
                <a:latin typeface="Arial" panose="020B0604020202020204" pitchFamily="34" charset="0"/>
                <a:cs typeface="Arial" panose="020B0604020202020204" pitchFamily="34" charset="0"/>
              </a:rPr>
              <a:t> dit, </a:t>
            </a:r>
            <a:r>
              <a:rPr lang="fr-FR" sz="1400" err="1">
                <a:latin typeface="Arial" panose="020B0604020202020204" pitchFamily="34" charset="0"/>
                <a:cs typeface="Arial" panose="020B0604020202020204" pitchFamily="34" charset="0"/>
              </a:rPr>
              <a:t>sundio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perum</a:t>
            </a:r>
            <a:endParaRPr lang="fr-FR" sz="1400">
              <a:latin typeface="Arial" panose="020B0604020202020204" pitchFamily="34" charset="0"/>
              <a:cs typeface="Arial" panose="020B0604020202020204" pitchFamily="34" charset="0"/>
            </a:endParaRPr>
          </a:p>
        </p:txBody>
      </p:sp>
      <p:sp>
        <p:nvSpPr>
          <p:cNvPr id="22" name="Espace réservé du texte 21">
            <a:extLst>
              <a:ext uri="{FF2B5EF4-FFF2-40B4-BE49-F238E27FC236}">
                <a16:creationId xmlns:a16="http://schemas.microsoft.com/office/drawing/2014/main" id="{0FE6A3AC-1D9F-6B40-B804-BC70C5D713D6}"/>
              </a:ext>
            </a:extLst>
          </p:cNvPr>
          <p:cNvSpPr>
            <a:spLocks noGrp="1"/>
          </p:cNvSpPr>
          <p:nvPr>
            <p:ph type="body" sz="quarter" idx="10" hasCustomPrompt="1"/>
          </p:nvPr>
        </p:nvSpPr>
        <p:spPr>
          <a:xfrm>
            <a:off x="3981824" y="716882"/>
            <a:ext cx="7063618"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pic>
        <p:nvPicPr>
          <p:cNvPr id="14" name="Image 13">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10734675" y="202629"/>
            <a:ext cx="1325136" cy="819053"/>
          </a:xfrm>
          <a:prstGeom prst="rect">
            <a:avLst/>
          </a:prstGeom>
        </p:spPr>
      </p:pic>
      <p:sp>
        <p:nvSpPr>
          <p:cNvPr id="16" name="ZoneTexte 15">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pPr>
                <a:lnSpc>
                  <a:spcPts val="1100"/>
                </a:lnSpc>
              </a:p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 </a:t>
            </a:r>
            <a:endParaRPr lang="fr-FR" sz="850">
              <a:solidFill>
                <a:srgbClr val="6F7072"/>
              </a:solidFill>
              <a:latin typeface="Arial" panose="020B0604020202020204" pitchFamily="34" charset="0"/>
              <a:cs typeface="Arial" panose="020B0604020202020204" pitchFamily="34" charset="0"/>
            </a:endParaRPr>
          </a:p>
        </p:txBody>
      </p:sp>
      <p:pic>
        <p:nvPicPr>
          <p:cNvPr id="21" name="Image 20">
            <a:extLst>
              <a:ext uri="{FF2B5EF4-FFF2-40B4-BE49-F238E27FC236}">
                <a16:creationId xmlns:a16="http://schemas.microsoft.com/office/drawing/2014/main" id="{2243E6BC-6888-406A-B31F-4F493CFF85EF}"/>
              </a:ext>
            </a:extLst>
          </p:cNvPr>
          <p:cNvPicPr>
            <a:picLocks noChangeAspect="1"/>
          </p:cNvPicPr>
          <p:nvPr userDrawn="1"/>
        </p:nvPicPr>
        <p:blipFill>
          <a:blip r:embed="rId6"/>
          <a:stretch>
            <a:fillRect/>
          </a:stretch>
        </p:blipFill>
        <p:spPr>
          <a:xfrm>
            <a:off x="9532787" y="6155877"/>
            <a:ext cx="1186973" cy="427738"/>
          </a:xfrm>
          <a:prstGeom prst="rect">
            <a:avLst/>
          </a:prstGeom>
        </p:spPr>
      </p:pic>
      <p:pic>
        <p:nvPicPr>
          <p:cNvPr id="23" name="Image 22"/>
          <p:cNvPicPr>
            <a:picLocks noChangeAspect="1"/>
          </p:cNvPicPr>
          <p:nvPr userDrawn="1"/>
        </p:nvPicPr>
        <p:blipFill>
          <a:blip r:embed="rId7"/>
          <a:stretch>
            <a:fillRect/>
          </a:stretch>
        </p:blipFill>
        <p:spPr>
          <a:xfrm>
            <a:off x="10788858" y="6085944"/>
            <a:ext cx="1375434" cy="584830"/>
          </a:xfrm>
          <a:prstGeom prst="rect">
            <a:avLst/>
          </a:prstGeom>
        </p:spPr>
      </p:pic>
      <p:pic>
        <p:nvPicPr>
          <p:cNvPr id="24"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263783" y="6084949"/>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49224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age article / Image colonn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843279" y="716882"/>
            <a:ext cx="2252721"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4" name="Image 13">
            <a:extLst>
              <a:ext uri="{FF2B5EF4-FFF2-40B4-BE49-F238E27FC236}">
                <a16:creationId xmlns:a16="http://schemas.microsoft.com/office/drawing/2014/main" id="{6A8A7006-50D9-2146-90FA-ADEE04673A6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816725" y="4432"/>
            <a:ext cx="5375275" cy="6853568"/>
          </a:xfrm>
          <a:prstGeom prst="rect">
            <a:avLst/>
          </a:prstGeom>
        </p:spPr>
      </p:pic>
      <p:pic>
        <p:nvPicPr>
          <p:cNvPr id="15" name="Image 14">
            <a:extLst>
              <a:ext uri="{FF2B5EF4-FFF2-40B4-BE49-F238E27FC236}">
                <a16:creationId xmlns:a16="http://schemas.microsoft.com/office/drawing/2014/main" id="{F765691A-CC9E-8B46-AA1D-4F600A1AA483}"/>
              </a:ext>
            </a:extLst>
          </p:cNvPr>
          <p:cNvPicPr>
            <a:picLocks noChangeAspect="1"/>
          </p:cNvPicPr>
          <p:nvPr userDrawn="1"/>
        </p:nvPicPr>
        <p:blipFill rotWithShape="1">
          <a:blip r:embed="rId4" cstate="email">
            <a:alphaModFix amt="35000"/>
            <a:extLst>
              <a:ext uri="{28A0092B-C50C-407E-A947-70E740481C1C}">
                <a14:useLocalDpi xmlns:a14="http://schemas.microsoft.com/office/drawing/2010/main"/>
              </a:ext>
            </a:extLst>
          </a:blip>
          <a:srcRect l="2854" r="1971" b="3454"/>
          <a:stretch/>
        </p:blipFill>
        <p:spPr>
          <a:xfrm>
            <a:off x="6796216" y="4209536"/>
            <a:ext cx="5395784" cy="2648464"/>
          </a:xfrm>
          <a:prstGeom prst="rect">
            <a:avLst/>
          </a:prstGeom>
        </p:spPr>
      </p:pic>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5"/>
          <a:srcRect l="17688" t="14066" r="48632" b="19347"/>
          <a:stretch/>
        </p:blipFill>
        <p:spPr>
          <a:xfrm>
            <a:off x="5491589" y="5801242"/>
            <a:ext cx="1325136" cy="819053"/>
          </a:xfrm>
          <a:prstGeom prst="rect">
            <a:avLst/>
          </a:prstGeom>
        </p:spPr>
      </p:pic>
      <p:sp>
        <p:nvSpPr>
          <p:cNvPr id="18" name="ZoneTexte 17">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pPr>
                <a:lnSpc>
                  <a:spcPts val="1100"/>
                </a:lnSpc>
              </a:p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 </a:t>
            </a:r>
            <a:endParaRPr lang="fr-FR" sz="850">
              <a:solidFill>
                <a:srgbClr val="6F707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54122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age article / Form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942F5E0A-62D6-3649-B081-B1396B1130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0355" y="501063"/>
            <a:ext cx="516648" cy="249992"/>
          </a:xfrm>
          <a:prstGeom prst="rect">
            <a:avLst/>
          </a:prstGeom>
        </p:spPr>
      </p:pic>
      <p:cxnSp>
        <p:nvCxnSpPr>
          <p:cNvPr id="9" name="Connecteur droit 8">
            <a:extLst>
              <a:ext uri="{FF2B5EF4-FFF2-40B4-BE49-F238E27FC236}">
                <a16:creationId xmlns:a16="http://schemas.microsoft.com/office/drawing/2014/main" id="{83284865-CFF5-384E-8D1E-E95C88F61152}"/>
              </a:ext>
            </a:extLst>
          </p:cNvPr>
          <p:cNvCxnSpPr>
            <a:cxnSpLocks/>
          </p:cNvCxnSpPr>
          <p:nvPr userDrawn="1"/>
        </p:nvCxnSpPr>
        <p:spPr>
          <a:xfrm>
            <a:off x="476352" y="864175"/>
            <a:ext cx="3328827" cy="0"/>
          </a:xfrm>
          <a:prstGeom prst="line">
            <a:avLst/>
          </a:prstGeom>
          <a:ln>
            <a:solidFill>
              <a:srgbClr val="6F7072"/>
            </a:solidFill>
            <a:tailEnd type="oval"/>
          </a:ln>
        </p:spPr>
        <p:style>
          <a:lnRef idx="1">
            <a:schemeClr val="accent1"/>
          </a:lnRef>
          <a:fillRef idx="0">
            <a:schemeClr val="accent1"/>
          </a:fillRef>
          <a:effectRef idx="0">
            <a:schemeClr val="accent1"/>
          </a:effectRef>
          <a:fontRef idx="minor">
            <a:schemeClr val="tx1"/>
          </a:fontRef>
        </p:style>
      </p:cxnSp>
      <p:sp>
        <p:nvSpPr>
          <p:cNvPr id="11" name="Espace réservé du texte 21">
            <a:extLst>
              <a:ext uri="{FF2B5EF4-FFF2-40B4-BE49-F238E27FC236}">
                <a16:creationId xmlns:a16="http://schemas.microsoft.com/office/drawing/2014/main" id="{AF16BD01-4833-1145-B1F4-E80F47DC6ABC}"/>
              </a:ext>
            </a:extLst>
          </p:cNvPr>
          <p:cNvSpPr>
            <a:spLocks noGrp="1"/>
          </p:cNvSpPr>
          <p:nvPr>
            <p:ph type="body" sz="quarter" idx="10" hasCustomPrompt="1"/>
          </p:nvPr>
        </p:nvSpPr>
        <p:spPr>
          <a:xfrm>
            <a:off x="3944586" y="716882"/>
            <a:ext cx="7042894" cy="304800"/>
          </a:xfrm>
        </p:spPr>
        <p:txBody>
          <a:bodyPr>
            <a:noAutofit/>
          </a:bodyPr>
          <a:lstStyle>
            <a:lvl1pPr marL="0" indent="0" algn="l" defTabSz="914400" rtl="0" eaLnBrk="1" latinLnBrk="0" hangingPunct="1">
              <a:lnSpc>
                <a:spcPct val="90000"/>
              </a:lnSpc>
              <a:spcBef>
                <a:spcPct val="0"/>
              </a:spcBef>
              <a:buNone/>
              <a:defRPr lang="fr-FR" sz="1600" b="1" kern="1200" dirty="0">
                <a:solidFill>
                  <a:srgbClr val="6F7072"/>
                </a:solidFill>
                <a:latin typeface="Arial" panose="020B0604020202020204" pitchFamily="34" charset="0"/>
                <a:ea typeface="+mj-ea"/>
                <a:cs typeface="Arial" panose="020B0604020202020204" pitchFamily="34" charset="0"/>
              </a:defRPr>
            </a:lvl1pPr>
          </a:lstStyle>
          <a:p>
            <a:r>
              <a:rPr lang="fr-FR"/>
              <a:t>Titre de la partie</a:t>
            </a:r>
          </a:p>
        </p:txBody>
      </p:sp>
      <p:sp>
        <p:nvSpPr>
          <p:cNvPr id="12" name="Titre 1">
            <a:extLst>
              <a:ext uri="{FF2B5EF4-FFF2-40B4-BE49-F238E27FC236}">
                <a16:creationId xmlns:a16="http://schemas.microsoft.com/office/drawing/2014/main" id="{8816FF46-CBD5-4942-B676-27BE5BD81F06}"/>
              </a:ext>
            </a:extLst>
          </p:cNvPr>
          <p:cNvSpPr>
            <a:spLocks noGrp="1"/>
          </p:cNvSpPr>
          <p:nvPr>
            <p:ph type="title" hasCustomPrompt="1"/>
          </p:nvPr>
        </p:nvSpPr>
        <p:spPr>
          <a:xfrm>
            <a:off x="470355" y="1799198"/>
            <a:ext cx="5625645" cy="480400"/>
          </a:xfrm>
        </p:spPr>
        <p:txBody>
          <a:bodyPr lIns="0" tIns="0" rIns="0" bIns="0">
            <a:noAutofit/>
          </a:bodyPr>
          <a:lstStyle>
            <a:lvl1pPr>
              <a:defRPr lang="fr-FR" sz="2800" b="1" kern="1200" dirty="0">
                <a:solidFill>
                  <a:schemeClr val="tx1"/>
                </a:solidFill>
                <a:latin typeface="Arial" panose="020B0604020202020204" pitchFamily="34" charset="0"/>
                <a:ea typeface="+mn-ea"/>
                <a:cs typeface="Arial" panose="020B0604020202020204" pitchFamily="34" charset="0"/>
              </a:defRPr>
            </a:lvl1pPr>
          </a:lstStyle>
          <a:p>
            <a:pPr>
              <a:lnSpc>
                <a:spcPts val="2400"/>
              </a:lnSpc>
            </a:pPr>
            <a:r>
              <a:rPr lang="fr-FR" sz="2800" b="1">
                <a:latin typeface="Arial" panose="020B0604020202020204" pitchFamily="34" charset="0"/>
                <a:cs typeface="Arial" panose="020B0604020202020204" pitchFamily="34" charset="0"/>
              </a:rPr>
              <a:t>Cliquer pour ajouter un titre</a:t>
            </a:r>
          </a:p>
        </p:txBody>
      </p:sp>
      <p:sp>
        <p:nvSpPr>
          <p:cNvPr id="13" name="Espace réservé du contenu 2">
            <a:extLst>
              <a:ext uri="{FF2B5EF4-FFF2-40B4-BE49-F238E27FC236}">
                <a16:creationId xmlns:a16="http://schemas.microsoft.com/office/drawing/2014/main" id="{A7E251FD-9F0E-194D-8757-F7FD7B73E046}"/>
              </a:ext>
            </a:extLst>
          </p:cNvPr>
          <p:cNvSpPr>
            <a:spLocks noGrp="1"/>
          </p:cNvSpPr>
          <p:nvPr>
            <p:ph sz="half" idx="1" hasCustomPrompt="1"/>
          </p:nvPr>
        </p:nvSpPr>
        <p:spPr>
          <a:xfrm>
            <a:off x="470355" y="2376618"/>
            <a:ext cx="5625645" cy="3054491"/>
          </a:xfrm>
        </p:spPr>
        <p:txBody>
          <a:bodyPr lIns="0" tIns="0" rIns="0" bIns="0">
            <a:noAutofit/>
          </a:bodyPr>
          <a:lstStyle>
            <a:lvl1pPr marL="0" indent="0">
              <a:buNone/>
              <a:defRPr lang="fr-FR" sz="1400" kern="1200" dirty="0">
                <a:solidFill>
                  <a:schemeClr val="tx1"/>
                </a:solidFill>
                <a:latin typeface="Arial" panose="020B0604020202020204" pitchFamily="34" charset="0"/>
                <a:ea typeface="+mn-ea"/>
                <a:cs typeface="Arial" panose="020B0604020202020204" pitchFamily="34" charset="0"/>
              </a:defRPr>
            </a:lvl1pPr>
          </a:lstStyle>
          <a:p>
            <a:pPr algn="just">
              <a:lnSpc>
                <a:spcPts val="2000"/>
              </a:lnSpc>
            </a:pPr>
            <a:r>
              <a:rPr lang="fr-FR" sz="1400" err="1">
                <a:latin typeface="Arial" panose="020B0604020202020204" pitchFamily="34" charset="0"/>
                <a:cs typeface="Arial" panose="020B0604020202020204" pitchFamily="34" charset="0"/>
              </a:rPr>
              <a:t>Aximus</a:t>
            </a:r>
            <a:r>
              <a:rPr lang="fr-FR" sz="1400">
                <a:latin typeface="Arial" panose="020B0604020202020204" pitchFamily="34" charset="0"/>
                <a:cs typeface="Arial" panose="020B0604020202020204" pitchFamily="34" charset="0"/>
              </a:rPr>
              <a:t>. Fic </a:t>
            </a:r>
            <a:r>
              <a:rPr lang="fr-FR" sz="1400" err="1">
                <a:latin typeface="Arial" panose="020B0604020202020204" pitchFamily="34" charset="0"/>
                <a:cs typeface="Arial" panose="020B0604020202020204" pitchFamily="34" charset="0"/>
              </a:rPr>
              <a:t>tempor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dis</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licatu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mnisquid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ffic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psandant</a:t>
            </a:r>
            <a:r>
              <a:rPr lang="fr-FR" sz="1400">
                <a:latin typeface="Arial" panose="020B0604020202020204" pitchFamily="34" charset="0"/>
                <a:cs typeface="Arial" panose="020B0604020202020204" pitchFamily="34" charset="0"/>
              </a:rPr>
              <a:t> as </a:t>
            </a:r>
            <a:r>
              <a:rPr lang="fr-FR" sz="1400" err="1">
                <a:latin typeface="Arial" panose="020B0604020202020204" pitchFamily="34" charset="0"/>
                <a:cs typeface="Arial" panose="020B0604020202020204" pitchFamily="34" charset="0"/>
              </a:rPr>
              <a:t>s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psam</a:t>
            </a:r>
            <a:r>
              <a:rPr lang="fr-FR" sz="1400">
                <a:latin typeface="Arial" panose="020B0604020202020204" pitchFamily="34" charset="0"/>
                <a:cs typeface="Arial" panose="020B0604020202020204" pitchFamily="34" charset="0"/>
              </a:rPr>
              <a:t> que </a:t>
            </a:r>
            <a:r>
              <a:rPr lang="fr-FR" sz="1400" err="1">
                <a:latin typeface="Arial" panose="020B0604020202020204" pitchFamily="34" charset="0"/>
                <a:cs typeface="Arial" panose="020B0604020202020204" pitchFamily="34" charset="0"/>
              </a:rPr>
              <a:t>pa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u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et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quide</a:t>
            </a:r>
            <a:r>
              <a:rPr lang="fr-FR" sz="1400">
                <a:latin typeface="Arial" panose="020B0604020202020204" pitchFamily="34" charset="0"/>
                <a:cs typeface="Arial" panose="020B0604020202020204" pitchFamily="34" charset="0"/>
              </a:rPr>
              <a:t> et, </a:t>
            </a:r>
            <a:r>
              <a:rPr lang="fr-FR" sz="1400" err="1">
                <a:latin typeface="Arial" panose="020B0604020202020204" pitchFamily="34" charset="0"/>
                <a:cs typeface="Arial" panose="020B0604020202020204" pitchFamily="34" charset="0"/>
              </a:rPr>
              <a:t>velicipie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onsequo</a:t>
            </a:r>
            <a:r>
              <a:rPr lang="fr-FR" sz="1400">
                <a:latin typeface="Arial" panose="020B0604020202020204" pitchFamily="34" charset="0"/>
                <a:cs typeface="Arial" panose="020B0604020202020204" pitchFamily="34" charset="0"/>
              </a:rPr>
              <a:t> et ad </a:t>
            </a:r>
            <a:r>
              <a:rPr lang="fr-FR" sz="1400" err="1">
                <a:latin typeface="Arial" panose="020B0604020202020204" pitchFamily="34" charset="0"/>
                <a:cs typeface="Arial" panose="020B0604020202020204" pitchFamily="34" charset="0"/>
              </a:rPr>
              <a:t>mag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eaqu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modiossed</a:t>
            </a:r>
            <a:r>
              <a:rPr lang="fr-FR" sz="1400">
                <a:latin typeface="Arial" panose="020B0604020202020204" pitchFamily="34" charset="0"/>
                <a:cs typeface="Arial" panose="020B0604020202020204" pitchFamily="34" charset="0"/>
              </a:rPr>
              <a:t> quo </a:t>
            </a:r>
            <a:r>
              <a:rPr lang="fr-FR" sz="1400" err="1">
                <a:latin typeface="Arial" panose="020B0604020202020204" pitchFamily="34" charset="0"/>
                <a:cs typeface="Arial" panose="020B0604020202020204" pitchFamily="34" charset="0"/>
              </a:rPr>
              <a:t>veli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llab</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molen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qu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aqua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optasint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olores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er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tias</a:t>
            </a:r>
            <a:r>
              <a:rPr lang="fr-FR" sz="1400">
                <a:latin typeface="Arial" panose="020B0604020202020204" pitchFamily="34" charset="0"/>
                <a:cs typeface="Arial" panose="020B0604020202020204" pitchFamily="34" charset="0"/>
              </a:rPr>
              <a:t> quia sus, </a:t>
            </a:r>
            <a:r>
              <a:rPr lang="fr-FR" sz="1400" err="1">
                <a:latin typeface="Arial" panose="020B0604020202020204" pitchFamily="34" charset="0"/>
                <a:cs typeface="Arial" panose="020B0604020202020204" pitchFamily="34" charset="0"/>
              </a:rPr>
              <a:t>volorio</a:t>
            </a:r>
            <a:r>
              <a:rPr lang="fr-FR" sz="1400">
                <a:latin typeface="Arial" panose="020B0604020202020204" pitchFamily="34" charset="0"/>
                <a:cs typeface="Arial" panose="020B0604020202020204" pitchFamily="34" charset="0"/>
              </a:rPr>
              <a:t> il minci </a:t>
            </a:r>
            <a:r>
              <a:rPr lang="fr-FR" sz="1400" err="1">
                <a:latin typeface="Arial" panose="020B0604020202020204" pitchFamily="34" charset="0"/>
                <a:cs typeface="Arial" panose="020B0604020202020204" pitchFamily="34" charset="0"/>
              </a:rPr>
              <a:t>officienimin</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cullor</a:t>
            </a:r>
            <a:r>
              <a:rPr lang="fr-FR" sz="1400">
                <a:latin typeface="Arial" panose="020B0604020202020204" pitchFamily="34" charset="0"/>
                <a:cs typeface="Arial" panose="020B0604020202020204" pitchFamily="34" charset="0"/>
              </a:rPr>
              <a:t> mo </a:t>
            </a:r>
            <a:r>
              <a:rPr lang="fr-FR" sz="1400" err="1">
                <a:latin typeface="Arial" panose="020B0604020202020204" pitchFamily="34" charset="0"/>
                <a:cs typeface="Arial" panose="020B0604020202020204" pitchFamily="34" charset="0"/>
              </a:rPr>
              <a:t>do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um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at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a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p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r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elenec</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aborem</a:t>
            </a:r>
            <a:r>
              <a:rPr lang="fr-FR" sz="1400">
                <a:latin typeface="Arial" panose="020B0604020202020204" pitchFamily="34" charset="0"/>
                <a:cs typeface="Arial" panose="020B0604020202020204" pitchFamily="34" charset="0"/>
              </a:rPr>
              <a:t> anis doles </a:t>
            </a:r>
            <a:r>
              <a:rPr lang="fr-FR" sz="1400" err="1">
                <a:latin typeface="Arial" panose="020B0604020202020204" pitchFamily="34" charset="0"/>
                <a:cs typeface="Arial" panose="020B0604020202020204" pitchFamily="34" charset="0"/>
              </a:rPr>
              <a:t>rehend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scipienihil</a:t>
            </a:r>
            <a:r>
              <a:rPr lang="fr-FR" sz="1400">
                <a:latin typeface="Arial" panose="020B0604020202020204" pitchFamily="34" charset="0"/>
                <a:cs typeface="Arial" panose="020B0604020202020204" pitchFamily="34" charset="0"/>
              </a:rPr>
              <a:t> id </a:t>
            </a:r>
            <a:r>
              <a:rPr lang="fr-FR" sz="1400" err="1">
                <a:latin typeface="Arial" panose="020B0604020202020204" pitchFamily="34" charset="0"/>
                <a:cs typeface="Arial" panose="020B0604020202020204" pitchFamily="34" charset="0"/>
              </a:rPr>
              <a:t>quodit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usapisC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rorep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litempo</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iant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orerestru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end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temol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excepra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ti</a:t>
            </a:r>
            <a:r>
              <a:rPr lang="fr-FR" sz="1400">
                <a:latin typeface="Arial" panose="020B0604020202020204" pitchFamily="34" charset="0"/>
                <a:cs typeface="Arial" panose="020B0604020202020204" pitchFamily="34" charset="0"/>
              </a:rPr>
              <a:t> rem. </a:t>
            </a:r>
            <a:r>
              <a:rPr lang="fr-FR" sz="1400" err="1">
                <a:latin typeface="Arial" panose="020B0604020202020204" pitchFamily="34" charset="0"/>
                <a:cs typeface="Arial" panose="020B0604020202020204" pitchFamily="34" charset="0"/>
              </a:rPr>
              <a:t>Uci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duci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u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dicipsa</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volorem</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nonsedita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fuga</a:t>
            </a:r>
            <a:r>
              <a:rPr lang="fr-FR" sz="1400">
                <a:latin typeface="Arial" panose="020B0604020202020204" pitchFamily="34" charset="0"/>
                <a:cs typeface="Arial" panose="020B0604020202020204" pitchFamily="34" charset="0"/>
              </a:rPr>
              <a:t>. Nam, non </a:t>
            </a:r>
            <a:r>
              <a:rPr lang="fr-FR" sz="1400" err="1">
                <a:latin typeface="Arial" panose="020B0604020202020204" pitchFamily="34" charset="0"/>
                <a:cs typeface="Arial" panose="020B0604020202020204" pitchFamily="34" charset="0"/>
              </a:rPr>
              <a:t>nimuscia</a:t>
            </a:r>
            <a:r>
              <a:rPr lang="fr-FR" sz="1400">
                <a:latin typeface="Arial" panose="020B0604020202020204" pitchFamily="34" charset="0"/>
                <a:cs typeface="Arial" panose="020B0604020202020204" pitchFamily="34" charset="0"/>
              </a:rPr>
              <a:t> cum </a:t>
            </a:r>
            <a:r>
              <a:rPr lang="fr-FR" sz="1400" err="1">
                <a:latin typeface="Arial" panose="020B0604020202020204" pitchFamily="34" charset="0"/>
                <a:cs typeface="Arial" panose="020B0604020202020204" pitchFamily="34" charset="0"/>
              </a:rPr>
              <a:t>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pedi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ib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os</a:t>
            </a:r>
            <a:r>
              <a:rPr lang="fr-FR" sz="1400">
                <a:latin typeface="Arial" panose="020B0604020202020204" pitchFamily="34" charset="0"/>
                <a:cs typeface="Arial" panose="020B0604020202020204" pitchFamily="34" charset="0"/>
              </a:rPr>
              <a:t> est ex </a:t>
            </a:r>
            <a:r>
              <a:rPr lang="fr-FR" sz="1400" err="1">
                <a:latin typeface="Arial" panose="020B0604020202020204" pitchFamily="34" charset="0"/>
                <a:cs typeface="Arial" panose="020B0604020202020204" pitchFamily="34" charset="0"/>
              </a:rPr>
              <a:t>eliqu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re</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imaio</a:t>
            </a:r>
            <a:r>
              <a:rPr lang="fr-FR" sz="1400">
                <a:latin typeface="Arial" panose="020B0604020202020204" pitchFamily="34" charset="0"/>
                <a:cs typeface="Arial" panose="020B0604020202020204" pitchFamily="34" charset="0"/>
              </a:rPr>
              <a:t> mo quid et </a:t>
            </a:r>
            <a:r>
              <a:rPr lang="fr-FR" sz="1400" err="1">
                <a:latin typeface="Arial" panose="020B0604020202020204" pitchFamily="34" charset="0"/>
                <a:cs typeface="Arial" panose="020B0604020202020204" pitchFamily="34" charset="0"/>
              </a:rPr>
              <a:t>mint</a:t>
            </a:r>
            <a:r>
              <a:rPr lang="fr-FR" sz="1400">
                <a:latin typeface="Arial" panose="020B0604020202020204" pitchFamily="34" charset="0"/>
                <a:cs typeface="Arial" panose="020B0604020202020204" pitchFamily="34" charset="0"/>
              </a:rPr>
              <a:t> es rendent </a:t>
            </a:r>
            <a:r>
              <a:rPr lang="fr-FR" sz="1400" err="1">
                <a:latin typeface="Arial" panose="020B0604020202020204" pitchFamily="34" charset="0"/>
                <a:cs typeface="Arial" panose="020B0604020202020204" pitchFamily="34" charset="0"/>
              </a:rPr>
              <a:t>iuntinu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ullupta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in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aut</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pliquatur</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serepudae</a:t>
            </a:r>
            <a:r>
              <a:rPr lang="fr-FR" sz="1400">
                <a:latin typeface="Arial" panose="020B0604020202020204" pitchFamily="34" charset="0"/>
                <a:cs typeface="Arial" panose="020B0604020202020204" pitchFamily="34" charset="0"/>
              </a:rPr>
              <a:t> lis ut </a:t>
            </a:r>
            <a:r>
              <a:rPr lang="fr-FR" sz="1400" err="1">
                <a:latin typeface="Arial" panose="020B0604020202020204" pitchFamily="34" charset="0"/>
                <a:cs typeface="Arial" panose="020B0604020202020204" pitchFamily="34" charset="0"/>
              </a:rPr>
              <a:t>alis</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ccupti</a:t>
            </a:r>
            <a:r>
              <a:rPr lang="fr-FR" sz="1400">
                <a:latin typeface="Arial" panose="020B0604020202020204" pitchFamily="34" charset="0"/>
                <a:cs typeface="Arial" panose="020B0604020202020204" pitchFamily="34" charset="0"/>
              </a:rPr>
              <a:t> </a:t>
            </a:r>
            <a:r>
              <a:rPr lang="fr-FR" sz="1400" err="1">
                <a:latin typeface="Arial" panose="020B0604020202020204" pitchFamily="34" charset="0"/>
                <a:cs typeface="Arial" panose="020B0604020202020204" pitchFamily="34" charset="0"/>
              </a:rPr>
              <a:t>atquiditatem</a:t>
            </a:r>
            <a:r>
              <a:rPr lang="fr-FR" sz="1400">
                <a:latin typeface="Arial" panose="020B0604020202020204" pitchFamily="34" charset="0"/>
                <a:cs typeface="Arial" panose="020B0604020202020204" pitchFamily="34" charset="0"/>
              </a:rPr>
              <a:t> est.</a:t>
            </a:r>
          </a:p>
        </p:txBody>
      </p:sp>
      <p:pic>
        <p:nvPicPr>
          <p:cNvPr id="10" name="Image 9">
            <a:extLst>
              <a:ext uri="{FF2B5EF4-FFF2-40B4-BE49-F238E27FC236}">
                <a16:creationId xmlns:a16="http://schemas.microsoft.com/office/drawing/2014/main" id="{DB23C4B9-A7EF-4950-A2C2-2EAA5B230162}"/>
              </a:ext>
            </a:extLst>
          </p:cNvPr>
          <p:cNvPicPr>
            <a:picLocks noChangeAspect="1"/>
          </p:cNvPicPr>
          <p:nvPr userDrawn="1"/>
        </p:nvPicPr>
        <p:blipFill rotWithShape="1">
          <a:blip r:embed="rId3"/>
          <a:srcRect l="17688" t="14066" r="48632" b="19347"/>
          <a:stretch/>
        </p:blipFill>
        <p:spPr>
          <a:xfrm>
            <a:off x="10734675" y="202629"/>
            <a:ext cx="1325136" cy="819053"/>
          </a:xfrm>
          <a:prstGeom prst="rect">
            <a:avLst/>
          </a:prstGeom>
        </p:spPr>
      </p:pic>
      <p:sp>
        <p:nvSpPr>
          <p:cNvPr id="20" name="ZoneTexte 19">
            <a:extLst>
              <a:ext uri="{FF2B5EF4-FFF2-40B4-BE49-F238E27FC236}">
                <a16:creationId xmlns:a16="http://schemas.microsoft.com/office/drawing/2014/main" id="{BF65BC1F-129F-934C-BD82-CB1592C34E16}"/>
              </a:ext>
            </a:extLst>
          </p:cNvPr>
          <p:cNvSpPr txBox="1"/>
          <p:nvPr userDrawn="1"/>
        </p:nvSpPr>
        <p:spPr>
          <a:xfrm>
            <a:off x="484964" y="6552514"/>
            <a:ext cx="6595672" cy="141064"/>
          </a:xfrm>
          <a:prstGeom prst="rect">
            <a:avLst/>
          </a:prstGeom>
          <a:noFill/>
        </p:spPr>
        <p:txBody>
          <a:bodyPr wrap="square" lIns="0" tIns="0" rIns="0" bIns="0" rtlCol="0">
            <a:spAutoFit/>
          </a:bodyPr>
          <a:lstStyle/>
          <a:p>
            <a:pPr>
              <a:lnSpc>
                <a:spcPts val="1100"/>
              </a:lnSpc>
            </a:pPr>
            <a:fld id="{942FCC0B-ED92-42D7-8A66-BF2DFC78E49D}" type="slidenum">
              <a:rPr lang="fr-FR" sz="850" smtClean="0">
                <a:solidFill>
                  <a:srgbClr val="6F7072"/>
                </a:solidFill>
                <a:latin typeface="Arial" panose="020B0604020202020204" pitchFamily="34" charset="0"/>
                <a:cs typeface="Arial" panose="020B0604020202020204" pitchFamily="34" charset="0"/>
              </a:rPr>
              <a:pPr>
                <a:lnSpc>
                  <a:spcPts val="1100"/>
                </a:lnSpc>
              </a:pPr>
              <a:t>‹#›</a:t>
            </a:fld>
            <a:r>
              <a:rPr lang="fr-FR" sz="850">
                <a:solidFill>
                  <a:srgbClr val="6F7072"/>
                </a:solidFill>
                <a:latin typeface="Arial" panose="020B0604020202020204" pitchFamily="34" charset="0"/>
                <a:cs typeface="Arial" panose="020B0604020202020204" pitchFamily="34" charset="0"/>
              </a:rPr>
              <a:t> | Webinaire Mon</a:t>
            </a:r>
            <a:r>
              <a:rPr lang="fr-FR" sz="850" baseline="0">
                <a:solidFill>
                  <a:srgbClr val="6F7072"/>
                </a:solidFill>
                <a:latin typeface="Arial" panose="020B0604020202020204" pitchFamily="34" charset="0"/>
                <a:cs typeface="Arial" panose="020B0604020202020204" pitchFamily="34" charset="0"/>
              </a:rPr>
              <a:t> espace santé</a:t>
            </a:r>
            <a:endParaRPr lang="fr-FR" sz="850">
              <a:solidFill>
                <a:srgbClr val="6F7072"/>
              </a:solidFill>
              <a:latin typeface="Arial" panose="020B0604020202020204" pitchFamily="34" charset="0"/>
              <a:cs typeface="Arial" panose="020B0604020202020204" pitchFamily="34" charset="0"/>
            </a:endParaRPr>
          </a:p>
        </p:txBody>
      </p:sp>
      <p:pic>
        <p:nvPicPr>
          <p:cNvPr id="15" name="Image 14">
            <a:extLst>
              <a:ext uri="{FF2B5EF4-FFF2-40B4-BE49-F238E27FC236}">
                <a16:creationId xmlns:a16="http://schemas.microsoft.com/office/drawing/2014/main" id="{2243E6BC-6888-406A-B31F-4F493CFF85EF}"/>
              </a:ext>
            </a:extLst>
          </p:cNvPr>
          <p:cNvPicPr>
            <a:picLocks noChangeAspect="1"/>
          </p:cNvPicPr>
          <p:nvPr userDrawn="1"/>
        </p:nvPicPr>
        <p:blipFill>
          <a:blip r:embed="rId4"/>
          <a:stretch>
            <a:fillRect/>
          </a:stretch>
        </p:blipFill>
        <p:spPr>
          <a:xfrm>
            <a:off x="9532787" y="6155877"/>
            <a:ext cx="1186973" cy="427738"/>
          </a:xfrm>
          <a:prstGeom prst="rect">
            <a:avLst/>
          </a:prstGeom>
        </p:spPr>
      </p:pic>
      <p:pic>
        <p:nvPicPr>
          <p:cNvPr id="17" name="Image 16"/>
          <p:cNvPicPr>
            <a:picLocks noChangeAspect="1"/>
          </p:cNvPicPr>
          <p:nvPr userDrawn="1"/>
        </p:nvPicPr>
        <p:blipFill>
          <a:blip r:embed="rId5"/>
          <a:stretch>
            <a:fillRect/>
          </a:stretch>
        </p:blipFill>
        <p:spPr>
          <a:xfrm>
            <a:off x="10788858" y="6085944"/>
            <a:ext cx="1375434" cy="584830"/>
          </a:xfrm>
          <a:prstGeom prst="rect">
            <a:avLst/>
          </a:prstGeom>
        </p:spPr>
      </p:pic>
      <p:pic>
        <p:nvPicPr>
          <p:cNvPr id="19"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263783" y="6084949"/>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14300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image" Target="../media/image4.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image" Target="../media/image27.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6.png"/><Relationship Id="rId10" Type="http://schemas.openxmlformats.org/officeDocument/2006/relationships/slideLayout" Target="../slideLayouts/slideLayout34.xml"/><Relationship Id="rId19" Type="http://schemas.openxmlformats.org/officeDocument/2006/relationships/image" Target="../media/image26.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32.png"/><Relationship Id="rId18" Type="http://schemas.openxmlformats.org/officeDocument/2006/relationships/image" Target="../media/image36.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27.jpeg"/><Relationship Id="rId17" Type="http://schemas.openxmlformats.org/officeDocument/2006/relationships/image" Target="../media/image35.png"/><Relationship Id="rId2" Type="http://schemas.openxmlformats.org/officeDocument/2006/relationships/slideLayout" Target="../slideLayouts/slideLayout43.xml"/><Relationship Id="rId16" Type="http://schemas.openxmlformats.org/officeDocument/2006/relationships/image" Target="../media/image4.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image" Target="../media/image34.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3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74EDF37C-BAA1-9F45-9E5A-C012BC1871A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55C4A8D8-ED2F-8946-8D1E-7D7DB6D9989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fr-FR"/>
              <a:t>Modifier les styles du texte du masque
Deuxième niveau
Troisième niveau
Quatrième niveau
Cinquième niveau</a:t>
            </a:r>
          </a:p>
        </p:txBody>
      </p:sp>
      <p:sp>
        <p:nvSpPr>
          <p:cNvPr id="4" name="Espace réservé de la date 3">
            <a:extLst>
              <a:ext uri="{FF2B5EF4-FFF2-40B4-BE49-F238E27FC236}">
                <a16:creationId xmlns:a16="http://schemas.microsoft.com/office/drawing/2014/main" id="{287BE01E-D4B0-4840-9F4A-224AD609F69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F84A0BC-939D-A84F-A7C4-D217642CCECB}" type="datetimeFigureOut">
              <a:rPr lang="fr-FR" smtClean="0"/>
              <a:t>30/03/2023</a:t>
            </a:fld>
            <a:endParaRPr lang="fr-FR"/>
          </a:p>
        </p:txBody>
      </p:sp>
      <p:sp>
        <p:nvSpPr>
          <p:cNvPr id="5" name="Espace réservé du pied de page 4">
            <a:extLst>
              <a:ext uri="{FF2B5EF4-FFF2-40B4-BE49-F238E27FC236}">
                <a16:creationId xmlns:a16="http://schemas.microsoft.com/office/drawing/2014/main" id="{02303DDE-1368-644D-AF97-0F270E62FFF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00D71D62-60F7-D640-ABA7-EAB3033C0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4933F58-996B-6244-9794-480B52F9F77B}" type="slidenum">
              <a:rPr lang="fr-FR" smtClean="0"/>
              <a:t>‹#›</a:t>
            </a:fld>
            <a:endParaRPr lang="fr-FR"/>
          </a:p>
        </p:txBody>
      </p:sp>
    </p:spTree>
    <p:extLst>
      <p:ext uri="{BB962C8B-B14F-4D97-AF65-F5344CB8AC3E}">
        <p14:creationId xmlns:p14="http://schemas.microsoft.com/office/powerpoint/2010/main" val="980171494"/>
      </p:ext>
    </p:extLst>
  </p:cSld>
  <p:clrMap bg1="lt1" tx1="dk1" bg2="lt2" tx2="dk2" accent1="accent1" accent2="accent2" accent3="accent3" accent4="accent4" accent5="accent5" accent6="accent6" hlink="hlink" folHlink="folHlink"/>
  <p:sldLayoutIdLst>
    <p:sldLayoutId id="2147483805" r:id="rId1"/>
    <p:sldLayoutId id="2147483803" r:id="rId2"/>
    <p:sldLayoutId id="2147483799" r:id="rId3"/>
    <p:sldLayoutId id="2147483812" r:id="rId4"/>
    <p:sldLayoutId id="2147483802" r:id="rId5"/>
    <p:sldLayoutId id="2147483801" r:id="rId6"/>
    <p:sldLayoutId id="2147483800" r:id="rId7"/>
    <p:sldLayoutId id="2147483806" r:id="rId8"/>
    <p:sldLayoutId id="2147483817" r:id="rId9"/>
    <p:sldLayoutId id="2147483818" r:id="rId10"/>
    <p:sldLayoutId id="2147483819" r:id="rId11"/>
    <p:sldLayoutId id="2147483820" r:id="rId12"/>
    <p:sldLayoutId id="2147483787" r:id="rId13"/>
    <p:sldLayoutId id="2147483788" r:id="rId14"/>
    <p:sldLayoutId id="2147483791" r:id="rId15"/>
    <p:sldLayoutId id="2147483792" r:id="rId16"/>
    <p:sldLayoutId id="2147483793" r:id="rId17"/>
    <p:sldLayoutId id="2147483794" r:id="rId18"/>
    <p:sldLayoutId id="2147483795" r:id="rId19"/>
    <p:sldLayoutId id="2147483796" r:id="rId20"/>
    <p:sldLayoutId id="2147483797" r:id="rId21"/>
    <p:sldLayoutId id="2147483798" r:id="rId22"/>
    <p:sldLayoutId id="2147483844" r:id="rId23"/>
    <p:sldLayoutId id="2147483846" r:id="rId2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81BD397F-28D0-874F-A288-715BA3E334FF}"/>
              </a:ext>
            </a:extLst>
          </p:cNvPr>
          <p:cNvPicPr>
            <a:picLocks noChangeAspect="1"/>
          </p:cNvPicPr>
          <p:nvPr userDrawn="1"/>
        </p:nvPicPr>
        <p:blipFill>
          <a:blip r:embed="rId19"/>
          <a:stretch>
            <a:fillRect/>
          </a:stretch>
        </p:blipFill>
        <p:spPr>
          <a:xfrm>
            <a:off x="255787" y="6233160"/>
            <a:ext cx="737619" cy="574622"/>
          </a:xfrm>
          <a:prstGeom prst="rect">
            <a:avLst/>
          </a:prstGeom>
        </p:spPr>
      </p:pic>
      <p:pic>
        <p:nvPicPr>
          <p:cNvPr id="2" name="MES-masque PPT2.jpg" descr="MES-masque PPT2.jpg"/>
          <p:cNvPicPr>
            <a:picLocks noChangeAspect="1"/>
          </p:cNvPicPr>
          <p:nvPr/>
        </p:nvPicPr>
        <p:blipFill>
          <a:blip r:embed="rId20"/>
          <a:stretch>
            <a:fillRect/>
          </a:stretch>
        </p:blipFill>
        <p:spPr>
          <a:xfrm>
            <a:off x="-1" y="-1354"/>
            <a:ext cx="12192001" cy="6196413"/>
          </a:xfrm>
          <a:prstGeom prst="rect">
            <a:avLst/>
          </a:prstGeom>
          <a:ln w="12700">
            <a:miter lim="400000"/>
          </a:ln>
        </p:spPr>
      </p:pic>
      <p:sp>
        <p:nvSpPr>
          <p:cNvPr id="3" name="Numéro de diapositive"/>
          <p:cNvSpPr txBox="1">
            <a:spLocks noGrp="1"/>
          </p:cNvSpPr>
          <p:nvPr>
            <p:ph type="sldNum" sz="quarter" idx="2"/>
          </p:nvPr>
        </p:nvSpPr>
        <p:spPr>
          <a:xfrm>
            <a:off x="11526249" y="6340658"/>
            <a:ext cx="309380" cy="241092"/>
          </a:xfrm>
          <a:prstGeom prst="rect">
            <a:avLst/>
          </a:prstGeom>
          <a:ln w="12700">
            <a:miter lim="400000"/>
          </a:ln>
        </p:spPr>
        <p:txBody>
          <a:bodyPr wrap="none" lIns="50800" tIns="50800" rIns="50800" bIns="50800" anchor="b">
            <a:spAutoFit/>
          </a:bodyPr>
          <a:lstStyle>
            <a:lvl1pPr defTabSz="292100">
              <a:defRPr sz="900">
                <a:solidFill>
                  <a:srgbClr val="DB3080"/>
                </a:solidFill>
                <a:latin typeface="+mj-lt"/>
                <a:ea typeface="+mj-ea"/>
                <a:cs typeface="+mj-cs"/>
                <a:sym typeface="Arial"/>
              </a:defRPr>
            </a:lvl1pPr>
          </a:lstStyle>
          <a:p>
            <a:fld id="{86CB4B4D-7CA3-9044-876B-883B54F8677D}" type="slidenum">
              <a:t>‹#›</a:t>
            </a:fld>
            <a:endParaRPr/>
          </a:p>
        </p:txBody>
      </p:sp>
      <p:sp>
        <p:nvSpPr>
          <p:cNvPr id="4" name="Ligne"/>
          <p:cNvSpPr/>
          <p:nvPr/>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5" name="Ligne"/>
          <p:cNvSpPr/>
          <p:nvPr/>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sp>
        <p:nvSpPr>
          <p:cNvPr id="9" name="Titre de la présentation"/>
          <p:cNvSpPr txBox="1">
            <a:spLocks noGrp="1"/>
          </p:cNvSpPr>
          <p:nvPr>
            <p:ph type="title" hasCustomPrompt="1"/>
          </p:nvPr>
        </p:nvSpPr>
        <p:spPr>
          <a:xfrm>
            <a:off x="3442403" y="1713281"/>
            <a:ext cx="6266062" cy="2324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a:bodyPr>
          <a:lstStyle/>
          <a:p>
            <a:r>
              <a:rPr err="1"/>
              <a:t>Titre</a:t>
            </a:r>
            <a:r>
              <a:t> de la </a:t>
            </a:r>
            <a:r>
              <a:rPr err="1"/>
              <a:t>présentation</a:t>
            </a:r>
            <a:endParaRPr/>
          </a:p>
        </p:txBody>
      </p:sp>
      <p:sp>
        <p:nvSpPr>
          <p:cNvPr id="10" name="Texte niveau 1…"/>
          <p:cNvSpPr txBox="1">
            <a:spLocks noGrp="1"/>
          </p:cNvSpPr>
          <p:nvPr>
            <p:ph type="body" idx="1" hasCustomPrompt="1"/>
          </p:nvPr>
        </p:nvSpPr>
        <p:spPr>
          <a:xfrm>
            <a:off x="3442403" y="3955885"/>
            <a:ext cx="6266062" cy="7039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sp>
        <p:nvSpPr>
          <p:cNvPr id="12" name="Auteur et date">
            <a:extLst>
              <a:ext uri="{FF2B5EF4-FFF2-40B4-BE49-F238E27FC236}">
                <a16:creationId xmlns:a16="http://schemas.microsoft.com/office/drawing/2014/main" id="{3B143CDB-F1B2-8D4B-B969-3F84D572A05A}"/>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latinLnBrk="0">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marL="0" marR="0" lvl="0" indent="0" algn="r" defTabSz="412750" rtl="0" eaLnBrk="1" fontAlgn="auto" latinLnBrk="0" hangingPunct="1">
              <a:lnSpc>
                <a:spcPct val="100000"/>
              </a:lnSpc>
              <a:spcBef>
                <a:spcPts val="0"/>
              </a:spcBef>
              <a:spcAft>
                <a:spcPts val="0"/>
              </a:spcAft>
              <a:buClrTx/>
              <a:buSzTx/>
              <a:buFontTx/>
              <a:buNone/>
              <a:tabLst/>
              <a:defRPr/>
            </a:pPr>
            <a:r>
              <a:rPr lang="fr-FR" kern="0"/>
              <a:t>Présentation Mon espace santé – 09/03/23</a:t>
            </a:r>
          </a:p>
          <a:p>
            <a:pPr marL="0" marR="0" lvl="0" indent="0" algn="r" defTabSz="412750" rtl="0" eaLnBrk="1" fontAlgn="auto" latinLnBrk="0" hangingPunct="1">
              <a:lnSpc>
                <a:spcPct val="100000"/>
              </a:lnSpc>
              <a:spcBef>
                <a:spcPts val="0"/>
              </a:spcBef>
              <a:spcAft>
                <a:spcPts val="0"/>
              </a:spcAft>
              <a:buClrTx/>
              <a:buSzTx/>
              <a:buFontTx/>
              <a:buNone/>
              <a:tabLst/>
              <a:defRPr/>
            </a:pPr>
            <a:endParaRPr lang="fr-FR" kern="0"/>
          </a:p>
        </p:txBody>
      </p:sp>
      <p:pic>
        <p:nvPicPr>
          <p:cNvPr id="13" name="Image 12">
            <a:extLst>
              <a:ext uri="{FF2B5EF4-FFF2-40B4-BE49-F238E27FC236}">
                <a16:creationId xmlns:a16="http://schemas.microsoft.com/office/drawing/2014/main" id="{2243E6BC-6888-406A-B31F-4F493CFF85EF}"/>
              </a:ext>
            </a:extLst>
          </p:cNvPr>
          <p:cNvPicPr>
            <a:picLocks noChangeAspect="1"/>
          </p:cNvPicPr>
          <p:nvPr userDrawn="1"/>
        </p:nvPicPr>
        <p:blipFill>
          <a:blip r:embed="rId21"/>
          <a:stretch>
            <a:fillRect/>
          </a:stretch>
        </p:blipFill>
        <p:spPr>
          <a:xfrm>
            <a:off x="1524791" y="6250648"/>
            <a:ext cx="1186973" cy="427738"/>
          </a:xfrm>
          <a:prstGeom prst="rect">
            <a:avLst/>
          </a:prstGeom>
        </p:spPr>
      </p:pic>
      <p:pic>
        <p:nvPicPr>
          <p:cNvPr id="14" name="Image 13"/>
          <p:cNvPicPr>
            <a:picLocks noChangeAspect="1"/>
          </p:cNvPicPr>
          <p:nvPr userDrawn="1"/>
        </p:nvPicPr>
        <p:blipFill>
          <a:blip r:embed="rId22"/>
          <a:stretch>
            <a:fillRect/>
          </a:stretch>
        </p:blipFill>
        <p:spPr>
          <a:xfrm>
            <a:off x="2780862" y="6180715"/>
            <a:ext cx="1375434" cy="584830"/>
          </a:xfrm>
          <a:prstGeom prst="rect">
            <a:avLst/>
          </a:prstGeom>
        </p:spPr>
      </p:pic>
      <p:pic>
        <p:nvPicPr>
          <p:cNvPr id="15" name="Picture 10" descr="Ministère de la Santé (France) — Wikipédia">
            <a:extLst>
              <a:ext uri="{FF2B5EF4-FFF2-40B4-BE49-F238E27FC236}">
                <a16:creationId xmlns:a16="http://schemas.microsoft.com/office/drawing/2014/main" id="{09E7D054-28EA-3471-4A19-CE0C682BD0F8}"/>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255787" y="6179720"/>
            <a:ext cx="983739" cy="62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9314434"/>
      </p:ext>
    </p:extLst>
  </p:cSld>
  <p:clrMap bg1="lt1" tx1="dk1" bg2="lt2" tx2="dk2" accent1="accent1" accent2="accent2" accent3="accent3" accent4="accent4" accent5="accent5" accent6="accent6" hlink="hlink" folHlink="folHlink"/>
  <p:sldLayoutIdLst>
    <p:sldLayoutId id="2147483669" r:id="rId1"/>
    <p:sldLayoutId id="2147483673" r:id="rId2"/>
    <p:sldLayoutId id="2147483670" r:id="rId3"/>
    <p:sldLayoutId id="2147483677" r:id="rId4"/>
    <p:sldLayoutId id="2147483811" r:id="rId5"/>
    <p:sldLayoutId id="2147483815" r:id="rId6"/>
    <p:sldLayoutId id="2147483814" r:id="rId7"/>
    <p:sldLayoutId id="2147483813" r:id="rId8"/>
    <p:sldLayoutId id="2147483671" r:id="rId9"/>
    <p:sldLayoutId id="2147483675" r:id="rId10"/>
    <p:sldLayoutId id="2147483810" r:id="rId11"/>
    <p:sldLayoutId id="2147483808" r:id="rId12"/>
    <p:sldLayoutId id="2147483809" r:id="rId13"/>
    <p:sldLayoutId id="2147483674" r:id="rId14"/>
    <p:sldLayoutId id="2147483807" r:id="rId15"/>
    <p:sldLayoutId id="2147483672" r:id="rId16"/>
    <p:sldLayoutId id="2147483816" r:id="rId17"/>
  </p:sldLayoutIdLst>
  <p:transition spd="med"/>
  <p:hf hdr="0" dt="0"/>
  <p:txStyles>
    <p:title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p:titleStyle>
    <p:bodyStyle>
      <a:lvl1pPr marL="0" marR="0" indent="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p:bodyStyle>
    <p:otherStyle>
      <a:lvl1pPr marL="0" marR="0" indent="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11430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1371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1600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1828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MES-masque PPT2.jpg" descr="MES-masque PPT2.jpg"/>
          <p:cNvPicPr>
            <a:picLocks noChangeAspect="1"/>
          </p:cNvPicPr>
          <p:nvPr/>
        </p:nvPicPr>
        <p:blipFill>
          <a:blip r:embed="rId12"/>
          <a:stretch>
            <a:fillRect/>
          </a:stretch>
        </p:blipFill>
        <p:spPr>
          <a:xfrm>
            <a:off x="-1" y="-1354"/>
            <a:ext cx="12192001" cy="6196413"/>
          </a:xfrm>
          <a:prstGeom prst="rect">
            <a:avLst/>
          </a:prstGeom>
          <a:ln w="12700">
            <a:miter lim="400000"/>
          </a:ln>
        </p:spPr>
      </p:pic>
      <p:sp>
        <p:nvSpPr>
          <p:cNvPr id="4" name="Ligne"/>
          <p:cNvSpPr/>
          <p:nvPr/>
        </p:nvSpPr>
        <p:spPr>
          <a:xfrm>
            <a:off x="3442403" y="4737753"/>
            <a:ext cx="6106157" cy="1"/>
          </a:xfrm>
          <a:prstGeom prst="line">
            <a:avLst/>
          </a:prstGeom>
          <a:ln w="101600">
            <a:solidFill>
              <a:srgbClr val="005C9B"/>
            </a:solidFill>
            <a:miter lim="400000"/>
          </a:ln>
        </p:spPr>
        <p:txBody>
          <a:bodyPr lIns="25400" tIns="25400" rIns="25400" bIns="25400" anchor="ctr"/>
          <a:lstStyle/>
          <a:p>
            <a:endParaRPr sz="900"/>
          </a:p>
        </p:txBody>
      </p:sp>
      <p:sp>
        <p:nvSpPr>
          <p:cNvPr id="5" name="Ligne"/>
          <p:cNvSpPr/>
          <p:nvPr/>
        </p:nvSpPr>
        <p:spPr>
          <a:xfrm>
            <a:off x="9538695" y="4730444"/>
            <a:ext cx="2201720" cy="23070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23" y="684"/>
                </a:lnTo>
                <a:lnTo>
                  <a:pt x="21600" y="0"/>
                </a:lnTo>
              </a:path>
            </a:pathLst>
          </a:custGeom>
          <a:ln w="101600">
            <a:solidFill>
              <a:srgbClr val="005C9B"/>
            </a:solidFill>
            <a:miter lim="400000"/>
          </a:ln>
        </p:spPr>
        <p:txBody>
          <a:bodyPr lIns="25400" tIns="25400" rIns="25400" bIns="25400" anchor="ctr"/>
          <a:lstStyle/>
          <a:p>
            <a:pPr>
              <a:defRPr>
                <a:solidFill>
                  <a:srgbClr val="005C9B"/>
                </a:solidFill>
              </a:defRPr>
            </a:pPr>
            <a:endParaRPr sz="900"/>
          </a:p>
        </p:txBody>
      </p:sp>
      <p:sp>
        <p:nvSpPr>
          <p:cNvPr id="9" name="Titre de la présentation"/>
          <p:cNvSpPr txBox="1">
            <a:spLocks noGrp="1"/>
          </p:cNvSpPr>
          <p:nvPr>
            <p:ph type="title"/>
          </p:nvPr>
        </p:nvSpPr>
        <p:spPr>
          <a:xfrm>
            <a:off x="3442403" y="1713281"/>
            <a:ext cx="6266062" cy="23241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b">
            <a:normAutofit/>
          </a:bodyPr>
          <a:lstStyle/>
          <a:p>
            <a:r>
              <a:rPr err="1"/>
              <a:t>Titre</a:t>
            </a:r>
            <a:r>
              <a:t> de la </a:t>
            </a:r>
            <a:r>
              <a:rPr err="1"/>
              <a:t>présentation</a:t>
            </a:r>
            <a:endParaRPr/>
          </a:p>
        </p:txBody>
      </p:sp>
      <p:sp>
        <p:nvSpPr>
          <p:cNvPr id="10" name="Texte niveau 1…"/>
          <p:cNvSpPr txBox="1">
            <a:spLocks noGrp="1"/>
          </p:cNvSpPr>
          <p:nvPr>
            <p:ph type="body" idx="1"/>
          </p:nvPr>
        </p:nvSpPr>
        <p:spPr>
          <a:xfrm>
            <a:off x="3442403" y="3955885"/>
            <a:ext cx="6266062" cy="703955"/>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ormAutofit/>
          </a:bodyPr>
          <a:lstStyle/>
          <a:p>
            <a:r>
              <a:t>Sous-</a:t>
            </a:r>
            <a:r>
              <a:rPr err="1"/>
              <a:t>titre</a:t>
            </a:r>
            <a:r>
              <a:t> de la </a:t>
            </a:r>
            <a:r>
              <a:rPr err="1"/>
              <a:t>présentation</a:t>
            </a:r>
            <a:endParaRPr/>
          </a:p>
          <a:p>
            <a:pPr lvl="1"/>
            <a:endParaRPr/>
          </a:p>
          <a:p>
            <a:pPr lvl="2"/>
            <a:endParaRPr/>
          </a:p>
          <a:p>
            <a:pPr lvl="3"/>
            <a:endParaRPr/>
          </a:p>
          <a:p>
            <a:pPr lvl="4"/>
            <a:endParaRPr/>
          </a:p>
        </p:txBody>
      </p:sp>
      <p:sp>
        <p:nvSpPr>
          <p:cNvPr id="14" name="Numéro de diapositive"/>
          <p:cNvSpPr txBox="1">
            <a:spLocks noGrp="1"/>
          </p:cNvSpPr>
          <p:nvPr>
            <p:ph type="sldNum" sz="quarter" idx="4"/>
          </p:nvPr>
        </p:nvSpPr>
        <p:spPr>
          <a:xfrm>
            <a:off x="11620482" y="6344103"/>
            <a:ext cx="469918" cy="241092"/>
          </a:xfrm>
          <a:prstGeom prst="rect">
            <a:avLst/>
          </a:prstGeom>
        </p:spPr>
        <p:txBody>
          <a:bodyPr/>
          <a:lstStyle>
            <a:lvl1pPr>
              <a:defRPr sz="1000"/>
            </a:lvl1pPr>
          </a:lstStyle>
          <a:p>
            <a:fld id="{86CB4B4D-7CA3-9044-876B-883B54F8677D}" type="slidenum">
              <a:rPr lang="fr-FR" smtClean="0"/>
              <a:pPr/>
              <a:t>‹#›</a:t>
            </a:fld>
            <a:endParaRPr lang="fr-FR"/>
          </a:p>
        </p:txBody>
      </p:sp>
      <p:sp>
        <p:nvSpPr>
          <p:cNvPr id="15" name="Auteur et date">
            <a:extLst>
              <a:ext uri="{FF2B5EF4-FFF2-40B4-BE49-F238E27FC236}">
                <a16:creationId xmlns:a16="http://schemas.microsoft.com/office/drawing/2014/main" id="{E30CA11C-B037-8E48-B945-69C3DE227325}"/>
              </a:ext>
            </a:extLst>
          </p:cNvPr>
          <p:cNvSpPr txBox="1">
            <a:spLocks/>
          </p:cNvSpPr>
          <p:nvPr userDrawn="1"/>
        </p:nvSpPr>
        <p:spPr>
          <a:xfrm>
            <a:off x="7755010" y="6344103"/>
            <a:ext cx="3742855" cy="318490"/>
          </a:xfrm>
          <a:prstGeom prst="rect">
            <a:avLst/>
          </a:prstGeom>
        </p:spPr>
        <p:txBody>
          <a:bodyPr lIns="45719" tIns="45719" rIns="45719" bIns="45719"/>
          <a:lstStyle>
            <a:lvl1pPr marL="0" marR="0" indent="0" algn="r" defTabSz="412750" rtl="0" eaLnBrk="1" fontAlgn="auto" latinLnBrk="0" hangingPunct="1">
              <a:lnSpc>
                <a:spcPct val="100000"/>
              </a:lnSpc>
              <a:spcBef>
                <a:spcPts val="0"/>
              </a:spcBef>
              <a:spcAft>
                <a:spcPts val="0"/>
              </a:spcAft>
              <a:buClrTx/>
              <a:buSzTx/>
              <a:buFontTx/>
              <a:buNone/>
              <a:tabLst/>
              <a:defRPr sz="1000" b="1" i="0" u="none" strike="noStrike" cap="none" spc="0" baseline="0">
                <a:solidFill>
                  <a:srgbClr val="005C9B"/>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a:lstStyle>
          <a:p>
            <a:pPr>
              <a:defRPr/>
            </a:pPr>
            <a:r>
              <a:rPr lang="fr-FR" kern="0"/>
              <a:t>Présentation Mon espace santé</a:t>
            </a:r>
          </a:p>
        </p:txBody>
      </p:sp>
      <p:pic>
        <p:nvPicPr>
          <p:cNvPr id="16" name="Graphique 6">
            <a:extLst>
              <a:ext uri="{FF2B5EF4-FFF2-40B4-BE49-F238E27FC236}">
                <a16:creationId xmlns:a16="http://schemas.microsoft.com/office/drawing/2014/main" id="{B220D2EE-C8F8-5242-AC0E-C44EB0E22A2D}"/>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1112819" y="6390559"/>
            <a:ext cx="819724" cy="240974"/>
          </a:xfrm>
          <a:prstGeom prst="rect">
            <a:avLst/>
          </a:prstGeom>
        </p:spPr>
      </p:pic>
      <p:pic>
        <p:nvPicPr>
          <p:cNvPr id="17" name="Image 1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211536" y="6252292"/>
            <a:ext cx="839961" cy="533475"/>
          </a:xfrm>
          <a:prstGeom prst="rect">
            <a:avLst/>
          </a:prstGeom>
        </p:spPr>
      </p:pic>
      <p:pic>
        <p:nvPicPr>
          <p:cNvPr id="18" name="Image 17">
            <a:extLst>
              <a:ext uri="{FF2B5EF4-FFF2-40B4-BE49-F238E27FC236}">
                <a16:creationId xmlns:a16="http://schemas.microsoft.com/office/drawing/2014/main" id="{2243E6BC-6888-406A-B31F-4F493CFF85EF}"/>
              </a:ext>
            </a:extLst>
          </p:cNvPr>
          <p:cNvPicPr>
            <a:picLocks noChangeAspect="1"/>
          </p:cNvPicPr>
          <p:nvPr userDrawn="1"/>
        </p:nvPicPr>
        <p:blipFill>
          <a:blip r:embed="rId16"/>
          <a:stretch>
            <a:fillRect/>
          </a:stretch>
        </p:blipFill>
        <p:spPr>
          <a:xfrm>
            <a:off x="1993865" y="6340658"/>
            <a:ext cx="989967" cy="356744"/>
          </a:xfrm>
          <a:prstGeom prst="rect">
            <a:avLst/>
          </a:prstGeom>
        </p:spPr>
      </p:pic>
      <p:pic>
        <p:nvPicPr>
          <p:cNvPr id="21" name="Image 20" descr="Une image contenant texte&#10;&#10;Description générée automatiquement">
            <a:extLst>
              <a:ext uri="{FF2B5EF4-FFF2-40B4-BE49-F238E27FC236}">
                <a16:creationId xmlns:a16="http://schemas.microsoft.com/office/drawing/2014/main" id="{79C59AC4-335C-48A5-A4FC-53733DABE3F6}"/>
              </a:ext>
            </a:extLst>
          </p:cNvPr>
          <p:cNvPicPr>
            <a:picLocks noChangeAspect="1"/>
          </p:cNvPicPr>
          <p:nvPr userDrawn="1"/>
        </p:nvPicPr>
        <p:blipFill>
          <a:blip r:embed="rId17"/>
          <a:stretch>
            <a:fillRect/>
          </a:stretch>
        </p:blipFill>
        <p:spPr>
          <a:xfrm>
            <a:off x="4793695" y="6289220"/>
            <a:ext cx="1880873" cy="472713"/>
          </a:xfrm>
          <a:prstGeom prst="rect">
            <a:avLst/>
          </a:prstGeom>
        </p:spPr>
      </p:pic>
      <p:pic>
        <p:nvPicPr>
          <p:cNvPr id="19" name="Picture 4" descr="Le Ségur du numérique en santé | esante.gouv.fr">
            <a:extLst>
              <a:ext uri="{FF2B5EF4-FFF2-40B4-BE49-F238E27FC236}">
                <a16:creationId xmlns:a16="http://schemas.microsoft.com/office/drawing/2014/main" id="{1C3E1B84-0438-4385-AA91-0AD02EFCBE31}"/>
              </a:ext>
            </a:extLst>
          </p:cNvPr>
          <p:cNvPicPr>
            <a:picLocks noChangeAspect="1" noChangeArrowheads="1"/>
          </p:cNvPicPr>
          <p:nvPr userDrawn="1"/>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r="48884"/>
          <a:stretch/>
        </p:blipFill>
        <p:spPr bwMode="auto">
          <a:xfrm>
            <a:off x="6694629" y="6290475"/>
            <a:ext cx="518021" cy="4805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30557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Lst>
  <p:transition spd="med"/>
  <p:hf hdr="0" dt="0"/>
  <p:txStyles>
    <p:titleStyle>
      <a:lvl1pPr marL="0" marR="0" indent="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1pPr>
      <a:lvl2pPr marL="0" marR="0" indent="228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2pPr>
      <a:lvl3pPr marL="0" marR="0" indent="457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3pPr>
      <a:lvl4pPr marL="0" marR="0" indent="685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4pPr>
      <a:lvl5pPr marL="0" marR="0" indent="9144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5pPr>
      <a:lvl6pPr marL="0" marR="0" indent="11430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6pPr>
      <a:lvl7pPr marL="0" marR="0" indent="13716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7pPr>
      <a:lvl8pPr marL="0" marR="0" indent="16002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8pPr>
      <a:lvl9pPr marL="0" marR="0" indent="1828800" algn="l" defTabSz="1219169" rtl="0" latinLnBrk="0">
        <a:lnSpc>
          <a:spcPct val="80000"/>
        </a:lnSpc>
        <a:spcBef>
          <a:spcPts val="0"/>
        </a:spcBef>
        <a:spcAft>
          <a:spcPts val="0"/>
        </a:spcAft>
        <a:buClrTx/>
        <a:buSzTx/>
        <a:buFontTx/>
        <a:buNone/>
        <a:tabLst/>
        <a:defRPr sz="3500" b="1" i="0" u="none" strike="noStrike" cap="none" spc="-70" baseline="0">
          <a:solidFill>
            <a:srgbClr val="005C9B"/>
          </a:solidFill>
          <a:uFillTx/>
          <a:latin typeface="+mj-lt"/>
          <a:ea typeface="+mj-ea"/>
          <a:cs typeface="+mj-cs"/>
          <a:sym typeface="Arial"/>
        </a:defRPr>
      </a:lvl9pPr>
    </p:titleStyle>
    <p:bodyStyle>
      <a:lvl1pPr marL="0" marR="0" indent="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1pPr>
      <a:lvl2pPr marL="0" marR="0" indent="228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2pPr>
      <a:lvl3pPr marL="0" marR="0" indent="457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3pPr>
      <a:lvl4pPr marL="0" marR="0" indent="685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4pPr>
      <a:lvl5pPr marL="0" marR="0" indent="9144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5pPr>
      <a:lvl6pPr marL="0" marR="0" indent="11430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6pPr>
      <a:lvl7pPr marL="0" marR="0" indent="13716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7pPr>
      <a:lvl8pPr marL="0" marR="0" indent="16002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8pPr>
      <a:lvl9pPr marL="0" marR="0" indent="1828800" algn="l" defTabSz="412750" rtl="0" latinLnBrk="0">
        <a:lnSpc>
          <a:spcPct val="100000"/>
        </a:lnSpc>
        <a:spcBef>
          <a:spcPts val="0"/>
        </a:spcBef>
        <a:spcAft>
          <a:spcPts val="0"/>
        </a:spcAft>
        <a:buClrTx/>
        <a:buSzTx/>
        <a:buFontTx/>
        <a:buNone/>
        <a:tabLst/>
        <a:defRPr sz="2750" b="1" i="0" u="none" strike="noStrike" cap="none" spc="0" baseline="0">
          <a:solidFill>
            <a:srgbClr val="DB3080"/>
          </a:solidFill>
          <a:uFillTx/>
          <a:latin typeface="+mj-lt"/>
          <a:ea typeface="+mj-ea"/>
          <a:cs typeface="+mj-cs"/>
          <a:sym typeface="Arial"/>
        </a:defRPr>
      </a:lvl9pPr>
    </p:bodyStyle>
    <p:otherStyle>
      <a:lvl1pPr marL="0" marR="0" indent="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1pPr>
      <a:lvl2pPr marL="0" marR="0" indent="228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2pPr>
      <a:lvl3pPr marL="0" marR="0" indent="457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3pPr>
      <a:lvl4pPr marL="0" marR="0" indent="685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4pPr>
      <a:lvl5pPr marL="0" marR="0" indent="9144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5pPr>
      <a:lvl6pPr marL="0" marR="0" indent="11430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6pPr>
      <a:lvl7pPr marL="0" marR="0" indent="13716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7pPr>
      <a:lvl8pPr marL="0" marR="0" indent="16002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8pPr>
      <a:lvl9pPr marL="0" marR="0" indent="1828800" algn="ctr" defTabSz="292100" latinLnBrk="0">
        <a:lnSpc>
          <a:spcPct val="100000"/>
        </a:lnSpc>
        <a:spcBef>
          <a:spcPts val="0"/>
        </a:spcBef>
        <a:spcAft>
          <a:spcPts val="0"/>
        </a:spcAft>
        <a:buClrTx/>
        <a:buSzTx/>
        <a:buFontTx/>
        <a:buNone/>
        <a:tabLst/>
        <a:defRPr sz="9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56.jpeg"/><Relationship Id="rId4" Type="http://schemas.openxmlformats.org/officeDocument/2006/relationships/image" Target="../media/image55.jpeg"/></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9.xml"/><Relationship Id="rId6" Type="http://schemas.openxmlformats.org/officeDocument/2006/relationships/image" Target="../media/image37.png"/><Relationship Id="rId5" Type="http://schemas.openxmlformats.org/officeDocument/2006/relationships/image" Target="../media/image60.png"/><Relationship Id="rId4" Type="http://schemas.openxmlformats.org/officeDocument/2006/relationships/image" Target="../media/image59.png"/></Relationships>
</file>

<file path=ppt/slides/_rels/slide13.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hyperlink" Target="https://esante.gouv.fr/segur/transparence" TargetMode="External"/><Relationship Id="rId3" Type="http://schemas.openxmlformats.org/officeDocument/2006/relationships/notesSlide" Target="../notesSlides/notesSlide8.xml"/><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chart" Target="../charts/chart2.xml"/><Relationship Id="rId9" Type="http://schemas.openxmlformats.org/officeDocument/2006/relationships/image" Target="../media/image6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hyperlink" Target="https://www.dmp.fr/matrice-habilitation" TargetMode="External"/><Relationship Id="rId13" Type="http://schemas.openxmlformats.org/officeDocument/2006/relationships/image" Target="../media/image55.jpeg"/><Relationship Id="rId3" Type="http://schemas.openxmlformats.org/officeDocument/2006/relationships/tags" Target="../tags/tag9.xml"/><Relationship Id="rId7" Type="http://schemas.openxmlformats.org/officeDocument/2006/relationships/notesSlide" Target="../notesSlides/notesSlide11.xml"/><Relationship Id="rId12" Type="http://schemas.openxmlformats.org/officeDocument/2006/relationships/image" Target="../media/image54.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9.xml"/><Relationship Id="rId11" Type="http://schemas.openxmlformats.org/officeDocument/2006/relationships/image" Target="../media/image76.png"/><Relationship Id="rId5" Type="http://schemas.openxmlformats.org/officeDocument/2006/relationships/tags" Target="../tags/tag11.xml"/><Relationship Id="rId10" Type="http://schemas.openxmlformats.org/officeDocument/2006/relationships/image" Target="../media/image75.png"/><Relationship Id="rId4" Type="http://schemas.openxmlformats.org/officeDocument/2006/relationships/tags" Target="../tags/tag10.xml"/><Relationship Id="rId9" Type="http://schemas.openxmlformats.org/officeDocument/2006/relationships/image" Target="../media/image7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23.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hyperlink" Target="https://esante.gouv.fr/boite-outils-mon-espace-sante-dediee-aux-etablissements" TargetMode="External"/><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hyperlink" Target="https://www.monespacesante.fr/" TargetMode="External"/><Relationship Id="rId5" Type="http://schemas.openxmlformats.org/officeDocument/2006/relationships/hyperlink" Target="https://www.ameli.fr/" TargetMode="External"/><Relationship Id="rId4" Type="http://schemas.openxmlformats.org/officeDocument/2006/relationships/hyperlink" Target="https://esante.gouv.fr/strategie-nationale/mon-espace-sante" TargetMode="Externa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0.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6.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3" Type="http://schemas.openxmlformats.org/officeDocument/2006/relationships/notesSlide" Target="../notesSlides/notesSlide4.xml"/><Relationship Id="rId7" Type="http://schemas.openxmlformats.org/officeDocument/2006/relationships/image" Target="../media/image43.png"/><Relationship Id="rId12" Type="http://schemas.openxmlformats.org/officeDocument/2006/relationships/image" Target="../media/image46.png"/><Relationship Id="rId2" Type="http://schemas.openxmlformats.org/officeDocument/2006/relationships/slideLayout" Target="../slideLayouts/slideLayout9.xml"/><Relationship Id="rId1" Type="http://schemas.openxmlformats.org/officeDocument/2006/relationships/tags" Target="../tags/tag5.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42.png"/><Relationship Id="rId10" Type="http://schemas.openxmlformats.org/officeDocument/2006/relationships/image" Target="../media/image45.png"/><Relationship Id="rId4" Type="http://schemas.openxmlformats.org/officeDocument/2006/relationships/chart" Target="../charts/chart1.xml"/><Relationship Id="rId9" Type="http://schemas.openxmlformats.org/officeDocument/2006/relationships/image" Target="../media/image44.png"/><Relationship Id="rId14" Type="http://schemas.openxmlformats.org/officeDocument/2006/relationships/image" Target="../media/image47.png"/></Relationships>
</file>

<file path=ppt/slides/_rels/slide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50.png"/><Relationship Id="rId4" Type="http://schemas.openxmlformats.org/officeDocument/2006/relationships/image" Target="../media/image49.png"/></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9.xml"/><Relationship Id="rId5" Type="http://schemas.openxmlformats.org/officeDocument/2006/relationships/image" Target="../media/image53.png"/><Relationship Id="rId4"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7404E73-B1BD-A548-B841-8876AE14D628}"/>
              </a:ext>
            </a:extLst>
          </p:cNvPr>
          <p:cNvSpPr>
            <a:spLocks noGrp="1"/>
          </p:cNvSpPr>
          <p:nvPr>
            <p:ph type="title"/>
          </p:nvPr>
        </p:nvSpPr>
        <p:spPr>
          <a:xfrm>
            <a:off x="850898" y="4635770"/>
            <a:ext cx="8384542" cy="831762"/>
          </a:xfrm>
        </p:spPr>
        <p:txBody>
          <a:bodyPr>
            <a:noAutofit/>
          </a:bodyPr>
          <a:lstStyle/>
          <a:p>
            <a:r>
              <a:rPr lang="fr-FR" sz="3200"/>
              <a:t>Mon espace santé</a:t>
            </a:r>
            <a:br>
              <a:rPr lang="fr-FR" sz="3200"/>
            </a:br>
            <a:r>
              <a:rPr lang="fr-FR" sz="3200">
                <a:solidFill>
                  <a:srgbClr val="D61252"/>
                </a:solidFill>
              </a:rPr>
              <a:t>Professionnels de santé LIBERAUX</a:t>
            </a:r>
          </a:p>
        </p:txBody>
      </p:sp>
      <p:sp>
        <p:nvSpPr>
          <p:cNvPr id="2" name="Espace réservé du texte 1"/>
          <p:cNvSpPr>
            <a:spLocks noGrp="1"/>
          </p:cNvSpPr>
          <p:nvPr>
            <p:ph type="body" sz="quarter" idx="21"/>
          </p:nvPr>
        </p:nvSpPr>
        <p:spPr/>
        <p:txBody>
          <a:bodyPr/>
          <a:lstStyle/>
          <a:p>
            <a:r>
              <a:rPr lang="fr-FR"/>
              <a:t>30/03/2023</a:t>
            </a:r>
          </a:p>
        </p:txBody>
      </p:sp>
      <p:sp>
        <p:nvSpPr>
          <p:cNvPr id="6" name="Espace réservé du texte 5">
            <a:extLst>
              <a:ext uri="{FF2B5EF4-FFF2-40B4-BE49-F238E27FC236}">
                <a16:creationId xmlns:a16="http://schemas.microsoft.com/office/drawing/2014/main" id="{7E090CFA-B0AA-3440-A97F-EADDE76F39C3}"/>
              </a:ext>
            </a:extLst>
          </p:cNvPr>
          <p:cNvSpPr>
            <a:spLocks noGrp="1"/>
          </p:cNvSpPr>
          <p:nvPr>
            <p:ph type="body" idx="4294967295"/>
          </p:nvPr>
        </p:nvSpPr>
        <p:spPr>
          <a:xfrm>
            <a:off x="9764713" y="3808413"/>
            <a:ext cx="2427287" cy="309562"/>
          </a:xfrm>
        </p:spPr>
        <p:txBody>
          <a:bodyPr>
            <a:normAutofit fontScale="62500" lnSpcReduction="20000"/>
          </a:bodyPr>
          <a:lstStyle/>
          <a:p>
            <a:r>
              <a:rPr lang="fr-FR"/>
              <a:t>30/03/2022</a:t>
            </a:r>
          </a:p>
        </p:txBody>
      </p:sp>
      <p:pic>
        <p:nvPicPr>
          <p:cNvPr id="7" name="Picture 12" descr="Logo&#10;&#10;Description automatically generated">
            <a:extLst>
              <a:ext uri="{FF2B5EF4-FFF2-40B4-BE49-F238E27FC236}">
                <a16:creationId xmlns:a16="http://schemas.microsoft.com/office/drawing/2014/main" id="{9337ECD4-EF7E-EF56-5E8E-E8088A0BD5A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751869" y="251578"/>
            <a:ext cx="946658" cy="946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a:extLst>
              <a:ext uri="{FF2B5EF4-FFF2-40B4-BE49-F238E27FC236}">
                <a16:creationId xmlns:a16="http://schemas.microsoft.com/office/drawing/2014/main" id="{066029C1-7670-4D49-48CF-5C58412316B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828616" y="233472"/>
            <a:ext cx="669249" cy="1004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9880499"/>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90831" y="1911927"/>
            <a:ext cx="8819424" cy="1836453"/>
          </a:xfrm>
        </p:spPr>
        <p:txBody>
          <a:bodyPr>
            <a:normAutofit fontScale="90000"/>
          </a:bodyPr>
          <a:lstStyle/>
          <a:p>
            <a:r>
              <a:rPr lang="fr-FR"/>
              <a:t>Comment Mon espace santé s’intègre dans vos pratiques et outils actuels ?</a:t>
            </a:r>
          </a:p>
        </p:txBody>
      </p:sp>
    </p:spTree>
    <p:extLst>
      <p:ext uri="{BB962C8B-B14F-4D97-AF65-F5344CB8AC3E}">
        <p14:creationId xmlns:p14="http://schemas.microsoft.com/office/powerpoint/2010/main" val="39181032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Comment s’insère Mon espace santé dans vos outils actuels ? </a:t>
            </a:r>
          </a:p>
        </p:txBody>
      </p:sp>
      <p:sp>
        <p:nvSpPr>
          <p:cNvPr id="52" name="Rectangle 51"/>
          <p:cNvSpPr/>
          <p:nvPr/>
        </p:nvSpPr>
        <p:spPr>
          <a:xfrm>
            <a:off x="0" y="1275627"/>
            <a:ext cx="12192000" cy="509262"/>
          </a:xfrm>
          <a:prstGeom prst="rect">
            <a:avLst/>
          </a:prstGeom>
          <a:solidFill>
            <a:srgbClr val="DF26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25519">
              <a:spcBef>
                <a:spcPts val="533"/>
              </a:spcBef>
              <a:spcAft>
                <a:spcPts val="533"/>
              </a:spcAft>
              <a:defRPr/>
            </a:pPr>
            <a:r>
              <a:rPr lang="fr-FR" b="1">
                <a:solidFill>
                  <a:schemeClr val="bg1"/>
                </a:solidFill>
                <a:latin typeface="Calibri" panose="020F0502020204030204" pitchFamily="34" charset="0"/>
                <a:ea typeface="Geneva" charset="-128"/>
                <a:cs typeface="Calibri" panose="020F0502020204030204" pitchFamily="34" charset="0"/>
              </a:rPr>
              <a:t>Pas de nouveaux outils à prendre en main, car vous n’utilisez pas le service Mon espace santé mais vos outils actuels</a:t>
            </a:r>
            <a:r>
              <a:rPr lang="fr-FR">
                <a:solidFill>
                  <a:schemeClr val="bg1"/>
                </a:solidFill>
                <a:latin typeface="Calibri" panose="020F0502020204030204" pitchFamily="34" charset="0"/>
                <a:ea typeface="Geneva" charset="-128"/>
                <a:cs typeface="Calibri" panose="020F0502020204030204" pitchFamily="34" charset="0"/>
              </a:rPr>
              <a:t>.</a:t>
            </a:r>
          </a:p>
        </p:txBody>
      </p:sp>
      <p:sp>
        <p:nvSpPr>
          <p:cNvPr id="53" name="Rectangle 52"/>
          <p:cNvSpPr/>
          <p:nvPr/>
        </p:nvSpPr>
        <p:spPr>
          <a:xfrm>
            <a:off x="7632229" y="3027272"/>
            <a:ext cx="4073814" cy="864000"/>
          </a:xfrm>
          <a:prstGeom prst="rect">
            <a:avLst/>
          </a:prstGeom>
          <a:solidFill>
            <a:srgbClr val="F0FBFE"/>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1625519">
              <a:spcBef>
                <a:spcPts val="533"/>
              </a:spcBef>
              <a:spcAft>
                <a:spcPts val="533"/>
              </a:spcAft>
              <a:defRPr/>
            </a:pPr>
            <a:r>
              <a:rPr lang="fr-FR" sz="1600">
                <a:solidFill>
                  <a:schemeClr val="tx2"/>
                </a:solidFill>
                <a:latin typeface="Calibri" panose="020F0502020204030204" pitchFamily="34" charset="0"/>
                <a:ea typeface="Geneva"/>
                <a:cs typeface="Calibri" panose="020F0502020204030204" pitchFamily="34" charset="0"/>
              </a:rPr>
              <a:t>🔎 Vous consultez et alimentez le DMP depuis </a:t>
            </a:r>
            <a:r>
              <a:rPr lang="fr-FR" sz="1600" b="1">
                <a:solidFill>
                  <a:srgbClr val="DF2680"/>
                </a:solidFill>
                <a:latin typeface="Calibri" panose="020F0502020204030204" pitchFamily="34" charset="0"/>
                <a:ea typeface="Geneva"/>
                <a:cs typeface="Calibri" panose="020F0502020204030204" pitchFamily="34" charset="0"/>
              </a:rPr>
              <a:t>votre logiciel métier ou le site dmp.fr</a:t>
            </a:r>
          </a:p>
        </p:txBody>
      </p:sp>
      <p:sp>
        <p:nvSpPr>
          <p:cNvPr id="54" name="Rectangle 53"/>
          <p:cNvSpPr/>
          <p:nvPr/>
        </p:nvSpPr>
        <p:spPr>
          <a:xfrm>
            <a:off x="7632229" y="4108229"/>
            <a:ext cx="4073814" cy="864000"/>
          </a:xfrm>
          <a:prstGeom prst="rect">
            <a:avLst/>
          </a:prstGeom>
          <a:solidFill>
            <a:srgbClr val="F0FB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1625519">
              <a:spcBef>
                <a:spcPts val="533"/>
              </a:spcBef>
              <a:spcAft>
                <a:spcPts val="533"/>
              </a:spcAft>
              <a:defRPr/>
            </a:pPr>
            <a:r>
              <a:rPr lang="fr-FR" sz="1600">
                <a:solidFill>
                  <a:schemeClr val="tx2"/>
                </a:solidFill>
                <a:latin typeface="Calibri" panose="020F0502020204030204" pitchFamily="34" charset="0"/>
                <a:ea typeface="Geneva" charset="-128"/>
                <a:cs typeface="Calibri" panose="020F0502020204030204" pitchFamily="34" charset="0"/>
              </a:rPr>
              <a:t>🔎 Vous utilisez votre </a:t>
            </a:r>
            <a:r>
              <a:rPr lang="fr-FR" sz="1600" b="1">
                <a:solidFill>
                  <a:srgbClr val="DF2680"/>
                </a:solidFill>
                <a:latin typeface="Calibri" panose="020F0502020204030204" pitchFamily="34" charset="0"/>
                <a:ea typeface="Geneva" charset="-128"/>
                <a:cs typeface="Calibri" panose="020F0502020204030204" pitchFamily="34" charset="0"/>
              </a:rPr>
              <a:t>messagerie </a:t>
            </a:r>
            <a:r>
              <a:rPr lang="fr-FR" sz="1600" b="1" err="1">
                <a:solidFill>
                  <a:srgbClr val="DF2680"/>
                </a:solidFill>
                <a:latin typeface="Calibri" panose="020F0502020204030204" pitchFamily="34" charset="0"/>
                <a:ea typeface="Geneva" charset="-128"/>
                <a:cs typeface="Calibri" panose="020F0502020204030204" pitchFamily="34" charset="0"/>
              </a:rPr>
              <a:t>MSSanté</a:t>
            </a:r>
            <a:r>
              <a:rPr lang="fr-FR" sz="1600">
                <a:solidFill>
                  <a:srgbClr val="DF2680"/>
                </a:solidFill>
                <a:latin typeface="Calibri" panose="020F0502020204030204" pitchFamily="34" charset="0"/>
                <a:ea typeface="Geneva" charset="-128"/>
                <a:cs typeface="Calibri" panose="020F0502020204030204" pitchFamily="34" charset="0"/>
              </a:rPr>
              <a:t> </a:t>
            </a:r>
            <a:r>
              <a:rPr lang="fr-FR" sz="1600">
                <a:solidFill>
                  <a:schemeClr val="tx2"/>
                </a:solidFill>
                <a:latin typeface="Calibri" panose="020F0502020204030204" pitchFamily="34" charset="0"/>
                <a:ea typeface="Geneva" charset="-128"/>
                <a:cs typeface="Calibri" panose="020F0502020204030204" pitchFamily="34" charset="0"/>
              </a:rPr>
              <a:t>pour communiquer avec la messagerie Mon espace santé de vos patients.   </a:t>
            </a:r>
          </a:p>
        </p:txBody>
      </p:sp>
      <p:cxnSp>
        <p:nvCxnSpPr>
          <p:cNvPr id="55" name="Straight Connector 52">
            <a:extLst>
              <a:ext uri="{FF2B5EF4-FFF2-40B4-BE49-F238E27FC236}">
                <a16:creationId xmlns:a16="http://schemas.microsoft.com/office/drawing/2014/main" id="{C3F45DA7-0856-4965-9EBD-1758F72F8FD9}"/>
              </a:ext>
            </a:extLst>
          </p:cNvPr>
          <p:cNvCxnSpPr/>
          <p:nvPr/>
        </p:nvCxnSpPr>
        <p:spPr>
          <a:xfrm>
            <a:off x="5032863" y="2241622"/>
            <a:ext cx="0" cy="2730607"/>
          </a:xfrm>
          <a:prstGeom prst="line">
            <a:avLst/>
          </a:prstGeom>
          <a:noFill/>
          <a:ln w="12700" cap="flat" cmpd="sng" algn="ctr">
            <a:solidFill>
              <a:srgbClr val="545859">
                <a:lumMod val="40000"/>
                <a:lumOff val="60000"/>
              </a:srgbClr>
            </a:solidFill>
            <a:prstDash val="lgDashDotDot"/>
            <a:miter lim="800000"/>
          </a:ln>
          <a:effectLst/>
        </p:spPr>
      </p:cxnSp>
      <p:sp>
        <p:nvSpPr>
          <p:cNvPr id="56" name="Rectangle 55">
            <a:extLst>
              <a:ext uri="{FF2B5EF4-FFF2-40B4-BE49-F238E27FC236}">
                <a16:creationId xmlns:a16="http://schemas.microsoft.com/office/drawing/2014/main" id="{9D1994FB-C71A-4C40-A030-4F1EAB03A141}"/>
              </a:ext>
            </a:extLst>
          </p:cNvPr>
          <p:cNvSpPr/>
          <p:nvPr/>
        </p:nvSpPr>
        <p:spPr>
          <a:xfrm>
            <a:off x="748598" y="3027272"/>
            <a:ext cx="1874157" cy="864000"/>
          </a:xfrm>
          <a:prstGeom prst="rect">
            <a:avLst/>
          </a:prstGeom>
          <a:solidFill>
            <a:schemeClr val="accent5">
              <a:lumMod val="20000"/>
              <a:lumOff val="80000"/>
            </a:schemeClr>
          </a:solidFill>
          <a:ln w="12700" cap="flat" cmpd="sng" algn="ctr">
            <a:noFill/>
            <a:prstDash val="lgDashDotDot"/>
            <a:miter lim="800000"/>
          </a:ln>
          <a:effectLst/>
        </p:spPr>
        <p:txBody>
          <a:bodyPr rtlCol="0" anchor="ctr"/>
          <a:lstStyle/>
          <a:p>
            <a:pPr algn="ctr" defTabSz="1625519">
              <a:defRPr/>
            </a:pPr>
            <a:r>
              <a:rPr lang="fr-FR" kern="0">
                <a:latin typeface="Calibri" panose="020F0502020204030204" pitchFamily="34" charset="0"/>
                <a:ea typeface="Geneva" charset="-128"/>
                <a:cs typeface="Calibri" panose="020F0502020204030204" pitchFamily="34" charset="0"/>
              </a:rPr>
              <a:t>Dossier médical</a:t>
            </a:r>
          </a:p>
        </p:txBody>
      </p:sp>
      <p:sp>
        <p:nvSpPr>
          <p:cNvPr id="57" name="Rectangle 56">
            <a:extLst>
              <a:ext uri="{FF2B5EF4-FFF2-40B4-BE49-F238E27FC236}">
                <a16:creationId xmlns:a16="http://schemas.microsoft.com/office/drawing/2014/main" id="{2CE0A4D1-9672-4C5C-A869-F45D818292C4}"/>
              </a:ext>
            </a:extLst>
          </p:cNvPr>
          <p:cNvSpPr/>
          <p:nvPr/>
        </p:nvSpPr>
        <p:spPr>
          <a:xfrm>
            <a:off x="748599" y="4108229"/>
            <a:ext cx="1874156" cy="864000"/>
          </a:xfrm>
          <a:prstGeom prst="rect">
            <a:avLst/>
          </a:prstGeom>
          <a:solidFill>
            <a:schemeClr val="accent5">
              <a:lumMod val="20000"/>
              <a:lumOff val="80000"/>
            </a:schemeClr>
          </a:solidFill>
          <a:ln w="12700" cap="flat" cmpd="sng" algn="ctr">
            <a:noFill/>
            <a:prstDash val="lgDashDotDot"/>
            <a:miter lim="800000"/>
          </a:ln>
          <a:effectLst/>
        </p:spPr>
        <p:txBody>
          <a:bodyPr rtlCol="0" anchor="ctr"/>
          <a:lstStyle/>
          <a:p>
            <a:pPr algn="ctr" defTabSz="1625519"/>
            <a:r>
              <a:rPr lang="fr-FR">
                <a:latin typeface="Calibri" panose="020F0502020204030204" pitchFamily="34" charset="0"/>
                <a:ea typeface="Geneva" charset="-128"/>
                <a:cs typeface="Calibri" panose="020F0502020204030204" pitchFamily="34" charset="0"/>
              </a:rPr>
              <a:t>Messagerie de santé</a:t>
            </a:r>
          </a:p>
        </p:txBody>
      </p:sp>
      <p:grpSp>
        <p:nvGrpSpPr>
          <p:cNvPr id="58" name="Group 16">
            <a:extLst>
              <a:ext uri="{FF2B5EF4-FFF2-40B4-BE49-F238E27FC236}">
                <a16:creationId xmlns:a16="http://schemas.microsoft.com/office/drawing/2014/main" id="{38108BAC-0695-4655-A3DD-4F2496E0299D}"/>
              </a:ext>
            </a:extLst>
          </p:cNvPr>
          <p:cNvGrpSpPr/>
          <p:nvPr/>
        </p:nvGrpSpPr>
        <p:grpSpPr>
          <a:xfrm>
            <a:off x="2753182" y="2023183"/>
            <a:ext cx="852720" cy="923860"/>
            <a:chOff x="2438619" y="1977075"/>
            <a:chExt cx="774434" cy="900000"/>
          </a:xfrm>
        </p:grpSpPr>
        <p:sp>
          <p:nvSpPr>
            <p:cNvPr id="59" name="Rectangle 58">
              <a:extLst>
                <a:ext uri="{FF2B5EF4-FFF2-40B4-BE49-F238E27FC236}">
                  <a16:creationId xmlns:a16="http://schemas.microsoft.com/office/drawing/2014/main" id="{2A4BAAC0-120A-4D47-8D3F-F73AE2BCB68C}"/>
                </a:ext>
              </a:extLst>
            </p:cNvPr>
            <p:cNvSpPr/>
            <p:nvPr/>
          </p:nvSpPr>
          <p:spPr>
            <a:xfrm>
              <a:off x="2438836" y="1977075"/>
              <a:ext cx="774000" cy="900000"/>
            </a:xfrm>
            <a:prstGeom prst="rect">
              <a:avLst/>
            </a:prstGeom>
            <a:noFill/>
            <a:ln w="12700" cap="flat" cmpd="sng" algn="ctr">
              <a:noFill/>
              <a:prstDash val="solid"/>
              <a:miter lim="800000"/>
            </a:ln>
            <a:effectLst/>
          </p:spPr>
          <p:txBody>
            <a:bodyPr rtlCol="0" anchor="ctr"/>
            <a:lstStyle/>
            <a:p>
              <a:pPr algn="ctr" defTabSz="1625519">
                <a:defRPr/>
              </a:pPr>
              <a:endParaRPr lang="fr-FR" sz="3200" kern="0">
                <a:solidFill>
                  <a:prstClr val="white"/>
                </a:solidFill>
                <a:ea typeface="Geneva" charset="-128"/>
              </a:endParaRPr>
            </a:p>
          </p:txBody>
        </p:sp>
        <p:grpSp>
          <p:nvGrpSpPr>
            <p:cNvPr id="60" name="Group 19">
              <a:extLst>
                <a:ext uri="{FF2B5EF4-FFF2-40B4-BE49-F238E27FC236}">
                  <a16:creationId xmlns:a16="http://schemas.microsoft.com/office/drawing/2014/main" id="{B0614751-256B-4C81-9A88-8B1EA21120F8}"/>
                </a:ext>
              </a:extLst>
            </p:cNvPr>
            <p:cNvGrpSpPr>
              <a:grpSpLocks noChangeAspect="1"/>
            </p:cNvGrpSpPr>
            <p:nvPr/>
          </p:nvGrpSpPr>
          <p:grpSpPr>
            <a:xfrm>
              <a:off x="2438619" y="1977661"/>
              <a:ext cx="774434" cy="898837"/>
              <a:chOff x="7217946" y="2881111"/>
              <a:chExt cx="1521530" cy="1765943"/>
            </a:xfrm>
          </p:grpSpPr>
          <p:grpSp>
            <p:nvGrpSpPr>
              <p:cNvPr id="61" name="Group 20">
                <a:extLst>
                  <a:ext uri="{FF2B5EF4-FFF2-40B4-BE49-F238E27FC236}">
                    <a16:creationId xmlns:a16="http://schemas.microsoft.com/office/drawing/2014/main" id="{1B7202BC-3245-46AE-98C3-E047147E728B}"/>
                  </a:ext>
                </a:extLst>
              </p:cNvPr>
              <p:cNvGrpSpPr>
                <a:grpSpLocks noChangeAspect="1"/>
              </p:cNvGrpSpPr>
              <p:nvPr/>
            </p:nvGrpSpPr>
            <p:grpSpPr bwMode="auto">
              <a:xfrm>
                <a:off x="7217946" y="2881111"/>
                <a:ext cx="1306622" cy="1439864"/>
                <a:chOff x="429" y="3030"/>
                <a:chExt cx="690" cy="907"/>
              </a:xfrm>
              <a:solidFill>
                <a:srgbClr val="545859"/>
              </a:solidFill>
            </p:grpSpPr>
            <p:sp>
              <p:nvSpPr>
                <p:cNvPr id="116" name="Freeform 54">
                  <a:extLst>
                    <a:ext uri="{FF2B5EF4-FFF2-40B4-BE49-F238E27FC236}">
                      <a16:creationId xmlns:a16="http://schemas.microsoft.com/office/drawing/2014/main" id="{1CF6CB70-C213-478D-8B5C-5DA6A5011D07}"/>
                    </a:ext>
                  </a:extLst>
                </p:cNvPr>
                <p:cNvSpPr>
                  <a:spLocks noEditPoints="1"/>
                </p:cNvSpPr>
                <p:nvPr/>
              </p:nvSpPr>
              <p:spPr bwMode="auto">
                <a:xfrm>
                  <a:off x="611" y="3190"/>
                  <a:ext cx="327" cy="327"/>
                </a:xfrm>
                <a:custGeom>
                  <a:avLst/>
                  <a:gdLst>
                    <a:gd name="T0" fmla="*/ 399 w 799"/>
                    <a:gd name="T1" fmla="*/ 803 h 803"/>
                    <a:gd name="T2" fmla="*/ 0 w 799"/>
                    <a:gd name="T3" fmla="*/ 321 h 803"/>
                    <a:gd name="T4" fmla="*/ 0 w 799"/>
                    <a:gd name="T5" fmla="*/ 306 h 803"/>
                    <a:gd name="T6" fmla="*/ 12 w 799"/>
                    <a:gd name="T7" fmla="*/ 299 h 803"/>
                    <a:gd name="T8" fmla="*/ 351 w 799"/>
                    <a:gd name="T9" fmla="*/ 27 h 803"/>
                    <a:gd name="T10" fmla="*/ 411 w 799"/>
                    <a:gd name="T11" fmla="*/ 1 h 803"/>
                    <a:gd name="T12" fmla="*/ 472 w 799"/>
                    <a:gd name="T13" fmla="*/ 31 h 803"/>
                    <a:gd name="T14" fmla="*/ 783 w 799"/>
                    <a:gd name="T15" fmla="*/ 297 h 803"/>
                    <a:gd name="T16" fmla="*/ 799 w 799"/>
                    <a:gd name="T17" fmla="*/ 304 h 803"/>
                    <a:gd name="T18" fmla="*/ 799 w 799"/>
                    <a:gd name="T19" fmla="*/ 321 h 803"/>
                    <a:gd name="T20" fmla="*/ 399 w 799"/>
                    <a:gd name="T21" fmla="*/ 803 h 803"/>
                    <a:gd name="T22" fmla="*/ 52 w 799"/>
                    <a:gd name="T23" fmla="*/ 335 h 803"/>
                    <a:gd name="T24" fmla="*/ 399 w 799"/>
                    <a:gd name="T25" fmla="*/ 751 h 803"/>
                    <a:gd name="T26" fmla="*/ 746 w 799"/>
                    <a:gd name="T27" fmla="*/ 337 h 803"/>
                    <a:gd name="T28" fmla="*/ 431 w 799"/>
                    <a:gd name="T29" fmla="*/ 63 h 803"/>
                    <a:gd name="T30" fmla="*/ 410 w 799"/>
                    <a:gd name="T31" fmla="*/ 53 h 803"/>
                    <a:gd name="T32" fmla="*/ 390 w 799"/>
                    <a:gd name="T33" fmla="*/ 62 h 803"/>
                    <a:gd name="T34" fmla="*/ 52 w 799"/>
                    <a:gd name="T35" fmla="*/ 33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803">
                      <a:moveTo>
                        <a:pt x="399" y="803"/>
                      </a:moveTo>
                      <a:cubicBezTo>
                        <a:pt x="179" y="803"/>
                        <a:pt x="0" y="586"/>
                        <a:pt x="0" y="321"/>
                      </a:cubicBezTo>
                      <a:cubicBezTo>
                        <a:pt x="0" y="306"/>
                        <a:pt x="0" y="306"/>
                        <a:pt x="0" y="306"/>
                      </a:cubicBezTo>
                      <a:cubicBezTo>
                        <a:pt x="12" y="299"/>
                        <a:pt x="12" y="299"/>
                        <a:pt x="12" y="299"/>
                      </a:cubicBezTo>
                      <a:cubicBezTo>
                        <a:pt x="14" y="297"/>
                        <a:pt x="237" y="154"/>
                        <a:pt x="351" y="27"/>
                      </a:cubicBezTo>
                      <a:cubicBezTo>
                        <a:pt x="366" y="10"/>
                        <a:pt x="388" y="0"/>
                        <a:pt x="411" y="1"/>
                      </a:cubicBezTo>
                      <a:cubicBezTo>
                        <a:pt x="435" y="1"/>
                        <a:pt x="457" y="12"/>
                        <a:pt x="472" y="31"/>
                      </a:cubicBezTo>
                      <a:cubicBezTo>
                        <a:pt x="532" y="105"/>
                        <a:pt x="653" y="238"/>
                        <a:pt x="783" y="297"/>
                      </a:cubicBezTo>
                      <a:cubicBezTo>
                        <a:pt x="799" y="304"/>
                        <a:pt x="799" y="304"/>
                        <a:pt x="799" y="304"/>
                      </a:cubicBezTo>
                      <a:cubicBezTo>
                        <a:pt x="799" y="321"/>
                        <a:pt x="799" y="321"/>
                        <a:pt x="799" y="321"/>
                      </a:cubicBezTo>
                      <a:cubicBezTo>
                        <a:pt x="799" y="586"/>
                        <a:pt x="619" y="803"/>
                        <a:pt x="399" y="803"/>
                      </a:cubicBezTo>
                      <a:close/>
                      <a:moveTo>
                        <a:pt x="52" y="335"/>
                      </a:moveTo>
                      <a:cubicBezTo>
                        <a:pt x="58" y="565"/>
                        <a:pt x="211" y="751"/>
                        <a:pt x="399" y="751"/>
                      </a:cubicBezTo>
                      <a:cubicBezTo>
                        <a:pt x="586" y="751"/>
                        <a:pt x="739" y="567"/>
                        <a:pt x="746" y="337"/>
                      </a:cubicBezTo>
                      <a:cubicBezTo>
                        <a:pt x="612" y="271"/>
                        <a:pt x="492" y="138"/>
                        <a:pt x="431" y="63"/>
                      </a:cubicBezTo>
                      <a:cubicBezTo>
                        <a:pt x="426" y="57"/>
                        <a:pt x="418" y="53"/>
                        <a:pt x="410" y="53"/>
                      </a:cubicBezTo>
                      <a:cubicBezTo>
                        <a:pt x="400" y="53"/>
                        <a:pt x="395" y="56"/>
                        <a:pt x="390" y="62"/>
                      </a:cubicBezTo>
                      <a:cubicBezTo>
                        <a:pt x="286" y="179"/>
                        <a:pt x="102" y="302"/>
                        <a:pt x="52"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17" name="Freeform 55">
                  <a:extLst>
                    <a:ext uri="{FF2B5EF4-FFF2-40B4-BE49-F238E27FC236}">
                      <a16:creationId xmlns:a16="http://schemas.microsoft.com/office/drawing/2014/main" id="{4E5A3DF9-834C-4AD1-861B-58A9833F91D3}"/>
                    </a:ext>
                  </a:extLst>
                </p:cNvPr>
                <p:cNvSpPr>
                  <a:spLocks/>
                </p:cNvSpPr>
                <p:nvPr/>
              </p:nvSpPr>
              <p:spPr bwMode="auto">
                <a:xfrm>
                  <a:off x="546" y="3030"/>
                  <a:ext cx="457" cy="527"/>
                </a:xfrm>
                <a:custGeom>
                  <a:avLst/>
                  <a:gdLst>
                    <a:gd name="T0" fmla="*/ 750 w 1117"/>
                    <a:gd name="T1" fmla="*/ 1287 h 1294"/>
                    <a:gd name="T2" fmla="*/ 724 w 1117"/>
                    <a:gd name="T3" fmla="*/ 1242 h 1294"/>
                    <a:gd name="T4" fmla="*/ 1062 w 1117"/>
                    <a:gd name="T5" fmla="*/ 1067 h 1294"/>
                    <a:gd name="T6" fmla="*/ 1023 w 1117"/>
                    <a:gd name="T7" fmla="*/ 518 h 1294"/>
                    <a:gd name="T8" fmla="*/ 558 w 1117"/>
                    <a:gd name="T9" fmla="*/ 52 h 1294"/>
                    <a:gd name="T10" fmla="*/ 94 w 1117"/>
                    <a:gd name="T11" fmla="*/ 516 h 1294"/>
                    <a:gd name="T12" fmla="*/ 54 w 1117"/>
                    <a:gd name="T13" fmla="*/ 1067 h 1294"/>
                    <a:gd name="T14" fmla="*/ 396 w 1117"/>
                    <a:gd name="T15" fmla="*/ 1248 h 1294"/>
                    <a:gd name="T16" fmla="*/ 370 w 1117"/>
                    <a:gd name="T17" fmla="*/ 1294 h 1294"/>
                    <a:gd name="T18" fmla="*/ 0 w 1117"/>
                    <a:gd name="T19" fmla="*/ 1096 h 1294"/>
                    <a:gd name="T20" fmla="*/ 42 w 1117"/>
                    <a:gd name="T21" fmla="*/ 514 h 1294"/>
                    <a:gd name="T22" fmla="*/ 558 w 1117"/>
                    <a:gd name="T23" fmla="*/ 0 h 1294"/>
                    <a:gd name="T24" fmla="*/ 1075 w 1117"/>
                    <a:gd name="T25" fmla="*/ 516 h 1294"/>
                    <a:gd name="T26" fmla="*/ 1117 w 1117"/>
                    <a:gd name="T27" fmla="*/ 1096 h 1294"/>
                    <a:gd name="T28" fmla="*/ 750 w 1117"/>
                    <a:gd name="T29" fmla="*/ 1287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7" h="1294">
                      <a:moveTo>
                        <a:pt x="750" y="1287"/>
                      </a:moveTo>
                      <a:cubicBezTo>
                        <a:pt x="724" y="1242"/>
                        <a:pt x="724" y="1242"/>
                        <a:pt x="724" y="1242"/>
                      </a:cubicBezTo>
                      <a:cubicBezTo>
                        <a:pt x="1062" y="1067"/>
                        <a:pt x="1062" y="1067"/>
                        <a:pt x="1062" y="1067"/>
                      </a:cubicBezTo>
                      <a:cubicBezTo>
                        <a:pt x="1023" y="518"/>
                        <a:pt x="1023" y="518"/>
                        <a:pt x="1023" y="518"/>
                      </a:cubicBezTo>
                      <a:cubicBezTo>
                        <a:pt x="1023" y="260"/>
                        <a:pt x="814" y="52"/>
                        <a:pt x="558" y="52"/>
                      </a:cubicBezTo>
                      <a:cubicBezTo>
                        <a:pt x="302" y="52"/>
                        <a:pt x="94" y="260"/>
                        <a:pt x="94" y="516"/>
                      </a:cubicBezTo>
                      <a:cubicBezTo>
                        <a:pt x="54" y="1067"/>
                        <a:pt x="54" y="1067"/>
                        <a:pt x="54" y="1067"/>
                      </a:cubicBezTo>
                      <a:cubicBezTo>
                        <a:pt x="396" y="1248"/>
                        <a:pt x="396" y="1248"/>
                        <a:pt x="396" y="1248"/>
                      </a:cubicBezTo>
                      <a:cubicBezTo>
                        <a:pt x="370" y="1294"/>
                        <a:pt x="370" y="1294"/>
                        <a:pt x="370" y="1294"/>
                      </a:cubicBezTo>
                      <a:cubicBezTo>
                        <a:pt x="0" y="1096"/>
                        <a:pt x="0" y="1096"/>
                        <a:pt x="0" y="1096"/>
                      </a:cubicBezTo>
                      <a:cubicBezTo>
                        <a:pt x="42" y="514"/>
                        <a:pt x="42" y="514"/>
                        <a:pt x="42" y="514"/>
                      </a:cubicBezTo>
                      <a:cubicBezTo>
                        <a:pt x="42" y="231"/>
                        <a:pt x="273" y="0"/>
                        <a:pt x="558" y="0"/>
                      </a:cubicBezTo>
                      <a:cubicBezTo>
                        <a:pt x="843" y="0"/>
                        <a:pt x="1075" y="231"/>
                        <a:pt x="1075" y="516"/>
                      </a:cubicBezTo>
                      <a:cubicBezTo>
                        <a:pt x="1117" y="1096"/>
                        <a:pt x="1117" y="1096"/>
                        <a:pt x="1117" y="1096"/>
                      </a:cubicBezTo>
                      <a:lnTo>
                        <a:pt x="750" y="1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18" name="Freeform 56">
                  <a:extLst>
                    <a:ext uri="{FF2B5EF4-FFF2-40B4-BE49-F238E27FC236}">
                      <a16:creationId xmlns:a16="http://schemas.microsoft.com/office/drawing/2014/main" id="{977C5B7B-8E3C-46F0-9364-8E85AB74D1E7}"/>
                    </a:ext>
                  </a:extLst>
                </p:cNvPr>
                <p:cNvSpPr>
                  <a:spLocks/>
                </p:cNvSpPr>
                <p:nvPr/>
              </p:nvSpPr>
              <p:spPr bwMode="auto">
                <a:xfrm>
                  <a:off x="691" y="3488"/>
                  <a:ext cx="167" cy="150"/>
                </a:xfrm>
                <a:custGeom>
                  <a:avLst/>
                  <a:gdLst>
                    <a:gd name="T0" fmla="*/ 201 w 408"/>
                    <a:gd name="T1" fmla="*/ 365 h 368"/>
                    <a:gd name="T2" fmla="*/ 48 w 408"/>
                    <a:gd name="T3" fmla="*/ 306 h 368"/>
                    <a:gd name="T4" fmla="*/ 5 w 408"/>
                    <a:gd name="T5" fmla="*/ 162 h 368"/>
                    <a:gd name="T6" fmla="*/ 23 w 408"/>
                    <a:gd name="T7" fmla="*/ 0 h 368"/>
                    <a:gd name="T8" fmla="*/ 66 w 408"/>
                    <a:gd name="T9" fmla="*/ 5 h 368"/>
                    <a:gd name="T10" fmla="*/ 48 w 408"/>
                    <a:gd name="T11" fmla="*/ 166 h 368"/>
                    <a:gd name="T12" fmla="*/ 79 w 408"/>
                    <a:gd name="T13" fmla="*/ 276 h 368"/>
                    <a:gd name="T14" fmla="*/ 204 w 408"/>
                    <a:gd name="T15" fmla="*/ 322 h 368"/>
                    <a:gd name="T16" fmla="*/ 329 w 408"/>
                    <a:gd name="T17" fmla="*/ 276 h 368"/>
                    <a:gd name="T18" fmla="*/ 361 w 408"/>
                    <a:gd name="T19" fmla="*/ 165 h 368"/>
                    <a:gd name="T20" fmla="*/ 342 w 408"/>
                    <a:gd name="T21" fmla="*/ 5 h 368"/>
                    <a:gd name="T22" fmla="*/ 385 w 408"/>
                    <a:gd name="T23" fmla="*/ 0 h 368"/>
                    <a:gd name="T24" fmla="*/ 403 w 408"/>
                    <a:gd name="T25" fmla="*/ 161 h 368"/>
                    <a:gd name="T26" fmla="*/ 360 w 408"/>
                    <a:gd name="T27" fmla="*/ 306 h 368"/>
                    <a:gd name="T28" fmla="*/ 204 w 408"/>
                    <a:gd name="T29" fmla="*/ 365 h 368"/>
                    <a:gd name="T30" fmla="*/ 201 w 408"/>
                    <a:gd name="T31" fmla="*/ 36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68">
                      <a:moveTo>
                        <a:pt x="201" y="365"/>
                      </a:moveTo>
                      <a:cubicBezTo>
                        <a:pt x="184" y="365"/>
                        <a:pt x="101" y="362"/>
                        <a:pt x="48" y="306"/>
                      </a:cubicBezTo>
                      <a:cubicBezTo>
                        <a:pt x="14" y="270"/>
                        <a:pt x="0" y="222"/>
                        <a:pt x="5" y="162"/>
                      </a:cubicBezTo>
                      <a:cubicBezTo>
                        <a:pt x="23" y="0"/>
                        <a:pt x="23" y="0"/>
                        <a:pt x="23" y="0"/>
                      </a:cubicBezTo>
                      <a:cubicBezTo>
                        <a:pt x="66" y="5"/>
                        <a:pt x="66" y="5"/>
                        <a:pt x="66" y="5"/>
                      </a:cubicBezTo>
                      <a:cubicBezTo>
                        <a:pt x="48" y="166"/>
                        <a:pt x="48" y="166"/>
                        <a:pt x="48" y="166"/>
                      </a:cubicBezTo>
                      <a:cubicBezTo>
                        <a:pt x="44" y="213"/>
                        <a:pt x="54" y="250"/>
                        <a:pt x="79" y="276"/>
                      </a:cubicBezTo>
                      <a:cubicBezTo>
                        <a:pt x="125" y="324"/>
                        <a:pt x="203" y="322"/>
                        <a:pt x="204" y="322"/>
                      </a:cubicBezTo>
                      <a:cubicBezTo>
                        <a:pt x="206" y="322"/>
                        <a:pt x="284" y="324"/>
                        <a:pt x="329" y="276"/>
                      </a:cubicBezTo>
                      <a:cubicBezTo>
                        <a:pt x="354" y="250"/>
                        <a:pt x="364" y="213"/>
                        <a:pt x="361" y="165"/>
                      </a:cubicBezTo>
                      <a:cubicBezTo>
                        <a:pt x="342" y="5"/>
                        <a:pt x="342" y="5"/>
                        <a:pt x="342" y="5"/>
                      </a:cubicBezTo>
                      <a:cubicBezTo>
                        <a:pt x="385" y="0"/>
                        <a:pt x="385" y="0"/>
                        <a:pt x="385" y="0"/>
                      </a:cubicBezTo>
                      <a:cubicBezTo>
                        <a:pt x="403" y="161"/>
                        <a:pt x="403" y="161"/>
                        <a:pt x="403" y="161"/>
                      </a:cubicBezTo>
                      <a:cubicBezTo>
                        <a:pt x="408" y="222"/>
                        <a:pt x="394" y="271"/>
                        <a:pt x="360" y="306"/>
                      </a:cubicBezTo>
                      <a:cubicBezTo>
                        <a:pt x="301" y="368"/>
                        <a:pt x="208" y="365"/>
                        <a:pt x="204" y="365"/>
                      </a:cubicBezTo>
                      <a:cubicBezTo>
                        <a:pt x="203" y="365"/>
                        <a:pt x="202" y="365"/>
                        <a:pt x="20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19" name="Freeform 57">
                  <a:extLst>
                    <a:ext uri="{FF2B5EF4-FFF2-40B4-BE49-F238E27FC236}">
                      <a16:creationId xmlns:a16="http://schemas.microsoft.com/office/drawing/2014/main" id="{4702219D-C46F-467B-AE4D-CE5B4E462026}"/>
                    </a:ext>
                  </a:extLst>
                </p:cNvPr>
                <p:cNvSpPr>
                  <a:spLocks/>
                </p:cNvSpPr>
                <p:nvPr/>
              </p:nvSpPr>
              <p:spPr bwMode="auto">
                <a:xfrm>
                  <a:off x="429" y="3576"/>
                  <a:ext cx="274" cy="361"/>
                </a:xfrm>
                <a:custGeom>
                  <a:avLst/>
                  <a:gdLst>
                    <a:gd name="T0" fmla="*/ 42 w 669"/>
                    <a:gd name="T1" fmla="*/ 885 h 885"/>
                    <a:gd name="T2" fmla="*/ 0 w 669"/>
                    <a:gd name="T3" fmla="*/ 885 h 885"/>
                    <a:gd name="T4" fmla="*/ 657 w 669"/>
                    <a:gd name="T5" fmla="*/ 0 h 885"/>
                    <a:gd name="T6" fmla="*/ 669 w 669"/>
                    <a:gd name="T7" fmla="*/ 46 h 885"/>
                    <a:gd name="T8" fmla="*/ 42 w 669"/>
                    <a:gd name="T9" fmla="*/ 885 h 885"/>
                  </a:gdLst>
                  <a:ahLst/>
                  <a:cxnLst>
                    <a:cxn ang="0">
                      <a:pos x="T0" y="T1"/>
                    </a:cxn>
                    <a:cxn ang="0">
                      <a:pos x="T2" y="T3"/>
                    </a:cxn>
                    <a:cxn ang="0">
                      <a:pos x="T4" y="T5"/>
                    </a:cxn>
                    <a:cxn ang="0">
                      <a:pos x="T6" y="T7"/>
                    </a:cxn>
                    <a:cxn ang="0">
                      <a:pos x="T8" y="T9"/>
                    </a:cxn>
                  </a:cxnLst>
                  <a:rect l="0" t="0" r="r" b="b"/>
                  <a:pathLst>
                    <a:path w="669" h="885">
                      <a:moveTo>
                        <a:pt x="42" y="885"/>
                      </a:moveTo>
                      <a:cubicBezTo>
                        <a:pt x="0" y="885"/>
                        <a:pt x="0" y="885"/>
                        <a:pt x="0" y="885"/>
                      </a:cubicBezTo>
                      <a:cubicBezTo>
                        <a:pt x="71" y="481"/>
                        <a:pt x="357" y="94"/>
                        <a:pt x="657" y="0"/>
                      </a:cubicBezTo>
                      <a:cubicBezTo>
                        <a:pt x="669" y="46"/>
                        <a:pt x="669" y="46"/>
                        <a:pt x="669" y="46"/>
                      </a:cubicBezTo>
                      <a:cubicBezTo>
                        <a:pt x="384" y="136"/>
                        <a:pt x="110" y="499"/>
                        <a:pt x="42" y="8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20" name="Freeform 58">
                  <a:extLst>
                    <a:ext uri="{FF2B5EF4-FFF2-40B4-BE49-F238E27FC236}">
                      <a16:creationId xmlns:a16="http://schemas.microsoft.com/office/drawing/2014/main" id="{DB939A0C-F53E-4E1B-ACC1-7E45E771B032}"/>
                    </a:ext>
                  </a:extLst>
                </p:cNvPr>
                <p:cNvSpPr>
                  <a:spLocks/>
                </p:cNvSpPr>
                <p:nvPr/>
              </p:nvSpPr>
              <p:spPr bwMode="auto">
                <a:xfrm>
                  <a:off x="842" y="3575"/>
                  <a:ext cx="277" cy="362"/>
                </a:xfrm>
                <a:custGeom>
                  <a:avLst/>
                  <a:gdLst>
                    <a:gd name="T0" fmla="*/ 635 w 677"/>
                    <a:gd name="T1" fmla="*/ 888 h 888"/>
                    <a:gd name="T2" fmla="*/ 0 w 677"/>
                    <a:gd name="T3" fmla="*/ 46 h 888"/>
                    <a:gd name="T4" fmla="*/ 11 w 677"/>
                    <a:gd name="T5" fmla="*/ 0 h 888"/>
                    <a:gd name="T6" fmla="*/ 677 w 677"/>
                    <a:gd name="T7" fmla="*/ 888 h 888"/>
                    <a:gd name="T8" fmla="*/ 635 w 677"/>
                    <a:gd name="T9" fmla="*/ 888 h 888"/>
                  </a:gdLst>
                  <a:ahLst/>
                  <a:cxnLst>
                    <a:cxn ang="0">
                      <a:pos x="T0" y="T1"/>
                    </a:cxn>
                    <a:cxn ang="0">
                      <a:pos x="T2" y="T3"/>
                    </a:cxn>
                    <a:cxn ang="0">
                      <a:pos x="T4" y="T5"/>
                    </a:cxn>
                    <a:cxn ang="0">
                      <a:pos x="T6" y="T7"/>
                    </a:cxn>
                    <a:cxn ang="0">
                      <a:pos x="T8" y="T9"/>
                    </a:cxn>
                  </a:cxnLst>
                  <a:rect l="0" t="0" r="r" b="b"/>
                  <a:pathLst>
                    <a:path w="677" h="888">
                      <a:moveTo>
                        <a:pt x="635" y="888"/>
                      </a:moveTo>
                      <a:cubicBezTo>
                        <a:pt x="566" y="496"/>
                        <a:pt x="290" y="132"/>
                        <a:pt x="0" y="46"/>
                      </a:cubicBezTo>
                      <a:cubicBezTo>
                        <a:pt x="11" y="0"/>
                        <a:pt x="11" y="0"/>
                        <a:pt x="11" y="0"/>
                      </a:cubicBezTo>
                      <a:cubicBezTo>
                        <a:pt x="316" y="90"/>
                        <a:pt x="605" y="479"/>
                        <a:pt x="677" y="888"/>
                      </a:cubicBezTo>
                      <a:lnTo>
                        <a:pt x="635"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grpSp>
          <p:sp>
            <p:nvSpPr>
              <p:cNvPr id="62" name="Oval 21">
                <a:extLst>
                  <a:ext uri="{FF2B5EF4-FFF2-40B4-BE49-F238E27FC236}">
                    <a16:creationId xmlns:a16="http://schemas.microsoft.com/office/drawing/2014/main" id="{463C7455-6E57-4F15-B695-534974E80BF1}"/>
                  </a:ext>
                </a:extLst>
              </p:cNvPr>
              <p:cNvSpPr/>
              <p:nvPr/>
            </p:nvSpPr>
            <p:spPr>
              <a:xfrm>
                <a:off x="8282940" y="3957978"/>
                <a:ext cx="422284" cy="493045"/>
              </a:xfrm>
              <a:prstGeom prst="ellipse">
                <a:avLst/>
              </a:prstGeom>
              <a:solidFill>
                <a:sysClr val="window" lastClr="FFFFFF"/>
              </a:solidFill>
              <a:ln w="12700" cap="flat" cmpd="sng" algn="ctr">
                <a:noFill/>
                <a:prstDash val="solid"/>
                <a:miter lim="800000"/>
              </a:ln>
              <a:effectLst/>
            </p:spPr>
            <p:txBody>
              <a:bodyPr rtlCol="0" anchor="ctr"/>
              <a:lstStyle/>
              <a:p>
                <a:pPr algn="ctr" defTabSz="1625519">
                  <a:defRPr/>
                </a:pPr>
                <a:endParaRPr lang="fr-FR" sz="3200" kern="0">
                  <a:solidFill>
                    <a:prstClr val="white"/>
                  </a:solidFill>
                  <a:ea typeface="Geneva" charset="-128"/>
                </a:endParaRPr>
              </a:p>
            </p:txBody>
          </p:sp>
          <p:grpSp>
            <p:nvGrpSpPr>
              <p:cNvPr id="63" name="Group 22">
                <a:extLst>
                  <a:ext uri="{FF2B5EF4-FFF2-40B4-BE49-F238E27FC236}">
                    <a16:creationId xmlns:a16="http://schemas.microsoft.com/office/drawing/2014/main" id="{30E4F8EB-BE4D-415B-BC3C-2E026C76B6D8}"/>
                  </a:ext>
                </a:extLst>
              </p:cNvPr>
              <p:cNvGrpSpPr>
                <a:grpSpLocks noChangeAspect="1"/>
              </p:cNvGrpSpPr>
              <p:nvPr/>
            </p:nvGrpSpPr>
            <p:grpSpPr>
              <a:xfrm>
                <a:off x="7917463" y="3951201"/>
                <a:ext cx="822013" cy="695853"/>
                <a:chOff x="2830513" y="4926013"/>
                <a:chExt cx="1323975" cy="1120775"/>
              </a:xfrm>
              <a:solidFill>
                <a:srgbClr val="C74E5A"/>
              </a:solidFill>
            </p:grpSpPr>
            <p:sp>
              <p:nvSpPr>
                <p:cNvPr id="64" name="Freeform 66">
                  <a:extLst>
                    <a:ext uri="{FF2B5EF4-FFF2-40B4-BE49-F238E27FC236}">
                      <a16:creationId xmlns:a16="http://schemas.microsoft.com/office/drawing/2014/main" id="{1A52A110-EFB3-4511-969D-88C54871B5C6}"/>
                    </a:ext>
                  </a:extLst>
                </p:cNvPr>
                <p:cNvSpPr>
                  <a:spLocks/>
                </p:cNvSpPr>
                <p:nvPr/>
              </p:nvSpPr>
              <p:spPr bwMode="auto">
                <a:xfrm>
                  <a:off x="2862263" y="4926013"/>
                  <a:ext cx="1263650" cy="561975"/>
                </a:xfrm>
                <a:custGeom>
                  <a:avLst/>
                  <a:gdLst>
                    <a:gd name="T0" fmla="*/ 48 w 796"/>
                    <a:gd name="T1" fmla="*/ 352 h 354"/>
                    <a:gd name="T2" fmla="*/ 34 w 796"/>
                    <a:gd name="T3" fmla="*/ 334 h 354"/>
                    <a:gd name="T4" fmla="*/ 8 w 796"/>
                    <a:gd name="T5" fmla="*/ 280 h 354"/>
                    <a:gd name="T6" fmla="*/ 0 w 796"/>
                    <a:gd name="T7" fmla="*/ 222 h 354"/>
                    <a:gd name="T8" fmla="*/ 6 w 796"/>
                    <a:gd name="T9" fmla="*/ 166 h 354"/>
                    <a:gd name="T10" fmla="*/ 28 w 796"/>
                    <a:gd name="T11" fmla="*/ 112 h 354"/>
                    <a:gd name="T12" fmla="*/ 64 w 796"/>
                    <a:gd name="T13" fmla="*/ 64 h 354"/>
                    <a:gd name="T14" fmla="*/ 98 w 796"/>
                    <a:gd name="T15" fmla="*/ 36 h 354"/>
                    <a:gd name="T16" fmla="*/ 154 w 796"/>
                    <a:gd name="T17" fmla="*/ 8 h 354"/>
                    <a:gd name="T18" fmla="*/ 218 w 796"/>
                    <a:gd name="T19" fmla="*/ 0 h 354"/>
                    <a:gd name="T20" fmla="*/ 262 w 796"/>
                    <a:gd name="T21" fmla="*/ 4 h 354"/>
                    <a:gd name="T22" fmla="*/ 322 w 796"/>
                    <a:gd name="T23" fmla="*/ 24 h 354"/>
                    <a:gd name="T24" fmla="*/ 372 w 796"/>
                    <a:gd name="T25" fmla="*/ 64 h 354"/>
                    <a:gd name="T26" fmla="*/ 398 w 796"/>
                    <a:gd name="T27" fmla="*/ 94 h 354"/>
                    <a:gd name="T28" fmla="*/ 422 w 796"/>
                    <a:gd name="T29" fmla="*/ 64 h 354"/>
                    <a:gd name="T30" fmla="*/ 456 w 796"/>
                    <a:gd name="T31" fmla="*/ 36 h 354"/>
                    <a:gd name="T32" fmla="*/ 514 w 796"/>
                    <a:gd name="T33" fmla="*/ 8 h 354"/>
                    <a:gd name="T34" fmla="*/ 576 w 796"/>
                    <a:gd name="T35" fmla="*/ 0 h 354"/>
                    <a:gd name="T36" fmla="*/ 638 w 796"/>
                    <a:gd name="T37" fmla="*/ 8 h 354"/>
                    <a:gd name="T38" fmla="*/ 696 w 796"/>
                    <a:gd name="T39" fmla="*/ 36 h 354"/>
                    <a:gd name="T40" fmla="*/ 730 w 796"/>
                    <a:gd name="T41" fmla="*/ 64 h 354"/>
                    <a:gd name="T42" fmla="*/ 766 w 796"/>
                    <a:gd name="T43" fmla="*/ 110 h 354"/>
                    <a:gd name="T44" fmla="*/ 788 w 796"/>
                    <a:gd name="T45" fmla="*/ 162 h 354"/>
                    <a:gd name="T46" fmla="*/ 796 w 796"/>
                    <a:gd name="T47" fmla="*/ 218 h 354"/>
                    <a:gd name="T48" fmla="*/ 788 w 796"/>
                    <a:gd name="T49" fmla="*/ 276 h 354"/>
                    <a:gd name="T50" fmla="*/ 764 w 796"/>
                    <a:gd name="T51" fmla="*/ 328 h 354"/>
                    <a:gd name="T52" fmla="*/ 752 w 796"/>
                    <a:gd name="T53" fmla="*/ 348 h 354"/>
                    <a:gd name="T54" fmla="*/ 742 w 796"/>
                    <a:gd name="T55" fmla="*/ 348 h 354"/>
                    <a:gd name="T56" fmla="*/ 738 w 796"/>
                    <a:gd name="T57" fmla="*/ 342 h 354"/>
                    <a:gd name="T58" fmla="*/ 740 w 796"/>
                    <a:gd name="T59" fmla="*/ 334 h 354"/>
                    <a:gd name="T60" fmla="*/ 764 w 796"/>
                    <a:gd name="T61" fmla="*/ 288 h 354"/>
                    <a:gd name="T62" fmla="*/ 776 w 796"/>
                    <a:gd name="T63" fmla="*/ 236 h 354"/>
                    <a:gd name="T64" fmla="*/ 774 w 796"/>
                    <a:gd name="T65" fmla="*/ 184 h 354"/>
                    <a:gd name="T66" fmla="*/ 758 w 796"/>
                    <a:gd name="T67" fmla="*/ 134 h 354"/>
                    <a:gd name="T68" fmla="*/ 730 w 796"/>
                    <a:gd name="T69" fmla="*/ 90 h 354"/>
                    <a:gd name="T70" fmla="*/ 702 w 796"/>
                    <a:gd name="T71" fmla="*/ 62 h 354"/>
                    <a:gd name="T72" fmla="*/ 652 w 796"/>
                    <a:gd name="T73" fmla="*/ 32 h 354"/>
                    <a:gd name="T74" fmla="*/ 596 w 796"/>
                    <a:gd name="T75" fmla="*/ 18 h 354"/>
                    <a:gd name="T76" fmla="*/ 538 w 796"/>
                    <a:gd name="T77" fmla="*/ 22 h 354"/>
                    <a:gd name="T78" fmla="*/ 484 w 796"/>
                    <a:gd name="T79" fmla="*/ 40 h 354"/>
                    <a:gd name="T80" fmla="*/ 434 w 796"/>
                    <a:gd name="T81" fmla="*/ 76 h 354"/>
                    <a:gd name="T82" fmla="*/ 406 w 796"/>
                    <a:gd name="T83" fmla="*/ 114 h 354"/>
                    <a:gd name="T84" fmla="*/ 390 w 796"/>
                    <a:gd name="T85" fmla="*/ 114 h 354"/>
                    <a:gd name="T86" fmla="*/ 360 w 796"/>
                    <a:gd name="T87" fmla="*/ 76 h 354"/>
                    <a:gd name="T88" fmla="*/ 312 w 796"/>
                    <a:gd name="T89" fmla="*/ 40 h 354"/>
                    <a:gd name="T90" fmla="*/ 258 w 796"/>
                    <a:gd name="T91" fmla="*/ 22 h 354"/>
                    <a:gd name="T92" fmla="*/ 218 w 796"/>
                    <a:gd name="T93" fmla="*/ 18 h 354"/>
                    <a:gd name="T94" fmla="*/ 160 w 796"/>
                    <a:gd name="T95" fmla="*/ 26 h 354"/>
                    <a:gd name="T96" fmla="*/ 108 w 796"/>
                    <a:gd name="T97" fmla="*/ 50 h 354"/>
                    <a:gd name="T98" fmla="*/ 76 w 796"/>
                    <a:gd name="T99" fmla="*/ 76 h 354"/>
                    <a:gd name="T100" fmla="*/ 44 w 796"/>
                    <a:gd name="T101" fmla="*/ 120 h 354"/>
                    <a:gd name="T102" fmla="*/ 24 w 796"/>
                    <a:gd name="T103" fmla="*/ 170 h 354"/>
                    <a:gd name="T104" fmla="*/ 18 w 796"/>
                    <a:gd name="T105" fmla="*/ 222 h 354"/>
                    <a:gd name="T106" fmla="*/ 26 w 796"/>
                    <a:gd name="T107" fmla="*/ 274 h 354"/>
                    <a:gd name="T108" fmla="*/ 48 w 796"/>
                    <a:gd name="T109" fmla="*/ 324 h 354"/>
                    <a:gd name="T110" fmla="*/ 60 w 796"/>
                    <a:gd name="T111" fmla="*/ 342 h 354"/>
                    <a:gd name="T112" fmla="*/ 58 w 796"/>
                    <a:gd name="T113" fmla="*/ 352 h 354"/>
                    <a:gd name="T114" fmla="*/ 52 w 796"/>
                    <a:gd name="T11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6" h="354">
                      <a:moveTo>
                        <a:pt x="52" y="354"/>
                      </a:moveTo>
                      <a:lnTo>
                        <a:pt x="52" y="354"/>
                      </a:lnTo>
                      <a:lnTo>
                        <a:pt x="48" y="352"/>
                      </a:lnTo>
                      <a:lnTo>
                        <a:pt x="44" y="350"/>
                      </a:lnTo>
                      <a:lnTo>
                        <a:pt x="44" y="350"/>
                      </a:lnTo>
                      <a:lnTo>
                        <a:pt x="34" y="334"/>
                      </a:lnTo>
                      <a:lnTo>
                        <a:pt x="24" y="316"/>
                      </a:lnTo>
                      <a:lnTo>
                        <a:pt x="16" y="298"/>
                      </a:lnTo>
                      <a:lnTo>
                        <a:pt x="8" y="280"/>
                      </a:lnTo>
                      <a:lnTo>
                        <a:pt x="4" y="260"/>
                      </a:lnTo>
                      <a:lnTo>
                        <a:pt x="2" y="242"/>
                      </a:lnTo>
                      <a:lnTo>
                        <a:pt x="0" y="222"/>
                      </a:lnTo>
                      <a:lnTo>
                        <a:pt x="0" y="204"/>
                      </a:lnTo>
                      <a:lnTo>
                        <a:pt x="2" y="184"/>
                      </a:lnTo>
                      <a:lnTo>
                        <a:pt x="6" y="166"/>
                      </a:lnTo>
                      <a:lnTo>
                        <a:pt x="12" y="146"/>
                      </a:lnTo>
                      <a:lnTo>
                        <a:pt x="18" y="128"/>
                      </a:lnTo>
                      <a:lnTo>
                        <a:pt x="28" y="112"/>
                      </a:lnTo>
                      <a:lnTo>
                        <a:pt x="38" y="94"/>
                      </a:lnTo>
                      <a:lnTo>
                        <a:pt x="50" y="78"/>
                      </a:lnTo>
                      <a:lnTo>
                        <a:pt x="64" y="64"/>
                      </a:lnTo>
                      <a:lnTo>
                        <a:pt x="64" y="64"/>
                      </a:lnTo>
                      <a:lnTo>
                        <a:pt x="80" y="48"/>
                      </a:lnTo>
                      <a:lnTo>
                        <a:pt x="98" y="36"/>
                      </a:lnTo>
                      <a:lnTo>
                        <a:pt x="116" y="24"/>
                      </a:lnTo>
                      <a:lnTo>
                        <a:pt x="134" y="16"/>
                      </a:lnTo>
                      <a:lnTo>
                        <a:pt x="154" y="8"/>
                      </a:lnTo>
                      <a:lnTo>
                        <a:pt x="176" y="4"/>
                      </a:lnTo>
                      <a:lnTo>
                        <a:pt x="196" y="0"/>
                      </a:lnTo>
                      <a:lnTo>
                        <a:pt x="218" y="0"/>
                      </a:lnTo>
                      <a:lnTo>
                        <a:pt x="218" y="0"/>
                      </a:lnTo>
                      <a:lnTo>
                        <a:pt x="240" y="0"/>
                      </a:lnTo>
                      <a:lnTo>
                        <a:pt x="262" y="4"/>
                      </a:lnTo>
                      <a:lnTo>
                        <a:pt x="282" y="8"/>
                      </a:lnTo>
                      <a:lnTo>
                        <a:pt x="302" y="16"/>
                      </a:lnTo>
                      <a:lnTo>
                        <a:pt x="322" y="24"/>
                      </a:lnTo>
                      <a:lnTo>
                        <a:pt x="340" y="36"/>
                      </a:lnTo>
                      <a:lnTo>
                        <a:pt x="356" y="48"/>
                      </a:lnTo>
                      <a:lnTo>
                        <a:pt x="372" y="64"/>
                      </a:lnTo>
                      <a:lnTo>
                        <a:pt x="372" y="64"/>
                      </a:lnTo>
                      <a:lnTo>
                        <a:pt x="386" y="78"/>
                      </a:lnTo>
                      <a:lnTo>
                        <a:pt x="398" y="94"/>
                      </a:lnTo>
                      <a:lnTo>
                        <a:pt x="398" y="94"/>
                      </a:lnTo>
                      <a:lnTo>
                        <a:pt x="410" y="78"/>
                      </a:lnTo>
                      <a:lnTo>
                        <a:pt x="422" y="64"/>
                      </a:lnTo>
                      <a:lnTo>
                        <a:pt x="422" y="64"/>
                      </a:lnTo>
                      <a:lnTo>
                        <a:pt x="438" y="48"/>
                      </a:lnTo>
                      <a:lnTo>
                        <a:pt x="456" y="36"/>
                      </a:lnTo>
                      <a:lnTo>
                        <a:pt x="474" y="24"/>
                      </a:lnTo>
                      <a:lnTo>
                        <a:pt x="494" y="16"/>
                      </a:lnTo>
                      <a:lnTo>
                        <a:pt x="514" y="8"/>
                      </a:lnTo>
                      <a:lnTo>
                        <a:pt x="534" y="4"/>
                      </a:lnTo>
                      <a:lnTo>
                        <a:pt x="556" y="0"/>
                      </a:lnTo>
                      <a:lnTo>
                        <a:pt x="576" y="0"/>
                      </a:lnTo>
                      <a:lnTo>
                        <a:pt x="598" y="0"/>
                      </a:lnTo>
                      <a:lnTo>
                        <a:pt x="618" y="4"/>
                      </a:lnTo>
                      <a:lnTo>
                        <a:pt x="638" y="8"/>
                      </a:lnTo>
                      <a:lnTo>
                        <a:pt x="658" y="16"/>
                      </a:lnTo>
                      <a:lnTo>
                        <a:pt x="678" y="24"/>
                      </a:lnTo>
                      <a:lnTo>
                        <a:pt x="696" y="36"/>
                      </a:lnTo>
                      <a:lnTo>
                        <a:pt x="714" y="48"/>
                      </a:lnTo>
                      <a:lnTo>
                        <a:pt x="730" y="64"/>
                      </a:lnTo>
                      <a:lnTo>
                        <a:pt x="730" y="64"/>
                      </a:lnTo>
                      <a:lnTo>
                        <a:pt x="744" y="78"/>
                      </a:lnTo>
                      <a:lnTo>
                        <a:pt x="756" y="94"/>
                      </a:lnTo>
                      <a:lnTo>
                        <a:pt x="766" y="110"/>
                      </a:lnTo>
                      <a:lnTo>
                        <a:pt x="776" y="128"/>
                      </a:lnTo>
                      <a:lnTo>
                        <a:pt x="782" y="144"/>
                      </a:lnTo>
                      <a:lnTo>
                        <a:pt x="788" y="162"/>
                      </a:lnTo>
                      <a:lnTo>
                        <a:pt x="792" y="182"/>
                      </a:lnTo>
                      <a:lnTo>
                        <a:pt x="794" y="200"/>
                      </a:lnTo>
                      <a:lnTo>
                        <a:pt x="796" y="218"/>
                      </a:lnTo>
                      <a:lnTo>
                        <a:pt x="794" y="238"/>
                      </a:lnTo>
                      <a:lnTo>
                        <a:pt x="792" y="256"/>
                      </a:lnTo>
                      <a:lnTo>
                        <a:pt x="788" y="276"/>
                      </a:lnTo>
                      <a:lnTo>
                        <a:pt x="782" y="294"/>
                      </a:lnTo>
                      <a:lnTo>
                        <a:pt x="774" y="312"/>
                      </a:lnTo>
                      <a:lnTo>
                        <a:pt x="764" y="328"/>
                      </a:lnTo>
                      <a:lnTo>
                        <a:pt x="754" y="346"/>
                      </a:lnTo>
                      <a:lnTo>
                        <a:pt x="754" y="346"/>
                      </a:lnTo>
                      <a:lnTo>
                        <a:pt x="752" y="348"/>
                      </a:lnTo>
                      <a:lnTo>
                        <a:pt x="748" y="348"/>
                      </a:lnTo>
                      <a:lnTo>
                        <a:pt x="744" y="348"/>
                      </a:lnTo>
                      <a:lnTo>
                        <a:pt x="742" y="348"/>
                      </a:lnTo>
                      <a:lnTo>
                        <a:pt x="742" y="348"/>
                      </a:lnTo>
                      <a:lnTo>
                        <a:pt x="738" y="344"/>
                      </a:lnTo>
                      <a:lnTo>
                        <a:pt x="738" y="342"/>
                      </a:lnTo>
                      <a:lnTo>
                        <a:pt x="738" y="338"/>
                      </a:lnTo>
                      <a:lnTo>
                        <a:pt x="740" y="334"/>
                      </a:lnTo>
                      <a:lnTo>
                        <a:pt x="740" y="334"/>
                      </a:lnTo>
                      <a:lnTo>
                        <a:pt x="750" y="320"/>
                      </a:lnTo>
                      <a:lnTo>
                        <a:pt x="758" y="304"/>
                      </a:lnTo>
                      <a:lnTo>
                        <a:pt x="764" y="288"/>
                      </a:lnTo>
                      <a:lnTo>
                        <a:pt x="770" y="270"/>
                      </a:lnTo>
                      <a:lnTo>
                        <a:pt x="774" y="254"/>
                      </a:lnTo>
                      <a:lnTo>
                        <a:pt x="776" y="236"/>
                      </a:lnTo>
                      <a:lnTo>
                        <a:pt x="778" y="218"/>
                      </a:lnTo>
                      <a:lnTo>
                        <a:pt x="776" y="202"/>
                      </a:lnTo>
                      <a:lnTo>
                        <a:pt x="774" y="184"/>
                      </a:lnTo>
                      <a:lnTo>
                        <a:pt x="770" y="168"/>
                      </a:lnTo>
                      <a:lnTo>
                        <a:pt x="766" y="150"/>
                      </a:lnTo>
                      <a:lnTo>
                        <a:pt x="758" y="134"/>
                      </a:lnTo>
                      <a:lnTo>
                        <a:pt x="750" y="118"/>
                      </a:lnTo>
                      <a:lnTo>
                        <a:pt x="742" y="104"/>
                      </a:lnTo>
                      <a:lnTo>
                        <a:pt x="730" y="90"/>
                      </a:lnTo>
                      <a:lnTo>
                        <a:pt x="718" y="76"/>
                      </a:lnTo>
                      <a:lnTo>
                        <a:pt x="718" y="76"/>
                      </a:lnTo>
                      <a:lnTo>
                        <a:pt x="702" y="62"/>
                      </a:lnTo>
                      <a:lnTo>
                        <a:pt x="686" y="50"/>
                      </a:lnTo>
                      <a:lnTo>
                        <a:pt x="670" y="40"/>
                      </a:lnTo>
                      <a:lnTo>
                        <a:pt x="652" y="32"/>
                      </a:lnTo>
                      <a:lnTo>
                        <a:pt x="634" y="26"/>
                      </a:lnTo>
                      <a:lnTo>
                        <a:pt x="614" y="22"/>
                      </a:lnTo>
                      <a:lnTo>
                        <a:pt x="596" y="18"/>
                      </a:lnTo>
                      <a:lnTo>
                        <a:pt x="576" y="18"/>
                      </a:lnTo>
                      <a:lnTo>
                        <a:pt x="558" y="18"/>
                      </a:lnTo>
                      <a:lnTo>
                        <a:pt x="538" y="22"/>
                      </a:lnTo>
                      <a:lnTo>
                        <a:pt x="520" y="26"/>
                      </a:lnTo>
                      <a:lnTo>
                        <a:pt x="502" y="32"/>
                      </a:lnTo>
                      <a:lnTo>
                        <a:pt x="484" y="40"/>
                      </a:lnTo>
                      <a:lnTo>
                        <a:pt x="466" y="50"/>
                      </a:lnTo>
                      <a:lnTo>
                        <a:pt x="450" y="62"/>
                      </a:lnTo>
                      <a:lnTo>
                        <a:pt x="434" y="76"/>
                      </a:lnTo>
                      <a:lnTo>
                        <a:pt x="434" y="76"/>
                      </a:lnTo>
                      <a:lnTo>
                        <a:pt x="418" y="94"/>
                      </a:lnTo>
                      <a:lnTo>
                        <a:pt x="406" y="114"/>
                      </a:lnTo>
                      <a:lnTo>
                        <a:pt x="398" y="128"/>
                      </a:lnTo>
                      <a:lnTo>
                        <a:pt x="390" y="114"/>
                      </a:lnTo>
                      <a:lnTo>
                        <a:pt x="390" y="114"/>
                      </a:lnTo>
                      <a:lnTo>
                        <a:pt x="376" y="94"/>
                      </a:lnTo>
                      <a:lnTo>
                        <a:pt x="360" y="76"/>
                      </a:lnTo>
                      <a:lnTo>
                        <a:pt x="360" y="76"/>
                      </a:lnTo>
                      <a:lnTo>
                        <a:pt x="346" y="62"/>
                      </a:lnTo>
                      <a:lnTo>
                        <a:pt x="330" y="50"/>
                      </a:lnTo>
                      <a:lnTo>
                        <a:pt x="312" y="40"/>
                      </a:lnTo>
                      <a:lnTo>
                        <a:pt x="294" y="32"/>
                      </a:lnTo>
                      <a:lnTo>
                        <a:pt x="276" y="26"/>
                      </a:lnTo>
                      <a:lnTo>
                        <a:pt x="258" y="22"/>
                      </a:lnTo>
                      <a:lnTo>
                        <a:pt x="238" y="18"/>
                      </a:lnTo>
                      <a:lnTo>
                        <a:pt x="218" y="18"/>
                      </a:lnTo>
                      <a:lnTo>
                        <a:pt x="218" y="18"/>
                      </a:lnTo>
                      <a:lnTo>
                        <a:pt x="198" y="18"/>
                      </a:lnTo>
                      <a:lnTo>
                        <a:pt x="178" y="22"/>
                      </a:lnTo>
                      <a:lnTo>
                        <a:pt x="160" y="26"/>
                      </a:lnTo>
                      <a:lnTo>
                        <a:pt x="142" y="32"/>
                      </a:lnTo>
                      <a:lnTo>
                        <a:pt x="124" y="40"/>
                      </a:lnTo>
                      <a:lnTo>
                        <a:pt x="108" y="50"/>
                      </a:lnTo>
                      <a:lnTo>
                        <a:pt x="92" y="62"/>
                      </a:lnTo>
                      <a:lnTo>
                        <a:pt x="76" y="76"/>
                      </a:lnTo>
                      <a:lnTo>
                        <a:pt x="76" y="76"/>
                      </a:lnTo>
                      <a:lnTo>
                        <a:pt x="64" y="90"/>
                      </a:lnTo>
                      <a:lnTo>
                        <a:pt x="52" y="104"/>
                      </a:lnTo>
                      <a:lnTo>
                        <a:pt x="44" y="120"/>
                      </a:lnTo>
                      <a:lnTo>
                        <a:pt x="36" y="136"/>
                      </a:lnTo>
                      <a:lnTo>
                        <a:pt x="28" y="152"/>
                      </a:lnTo>
                      <a:lnTo>
                        <a:pt x="24" y="170"/>
                      </a:lnTo>
                      <a:lnTo>
                        <a:pt x="20" y="186"/>
                      </a:lnTo>
                      <a:lnTo>
                        <a:pt x="18" y="204"/>
                      </a:lnTo>
                      <a:lnTo>
                        <a:pt x="18" y="222"/>
                      </a:lnTo>
                      <a:lnTo>
                        <a:pt x="20" y="240"/>
                      </a:lnTo>
                      <a:lnTo>
                        <a:pt x="22" y="258"/>
                      </a:lnTo>
                      <a:lnTo>
                        <a:pt x="26" y="274"/>
                      </a:lnTo>
                      <a:lnTo>
                        <a:pt x="32" y="292"/>
                      </a:lnTo>
                      <a:lnTo>
                        <a:pt x="40" y="308"/>
                      </a:lnTo>
                      <a:lnTo>
                        <a:pt x="48" y="324"/>
                      </a:lnTo>
                      <a:lnTo>
                        <a:pt x="58" y="340"/>
                      </a:lnTo>
                      <a:lnTo>
                        <a:pt x="58" y="340"/>
                      </a:lnTo>
                      <a:lnTo>
                        <a:pt x="60" y="342"/>
                      </a:lnTo>
                      <a:lnTo>
                        <a:pt x="60" y="346"/>
                      </a:lnTo>
                      <a:lnTo>
                        <a:pt x="60" y="350"/>
                      </a:lnTo>
                      <a:lnTo>
                        <a:pt x="58" y="352"/>
                      </a:lnTo>
                      <a:lnTo>
                        <a:pt x="58" y="352"/>
                      </a:lnTo>
                      <a:lnTo>
                        <a:pt x="52" y="354"/>
                      </a:lnTo>
                      <a:lnTo>
                        <a:pt x="52" y="354"/>
                      </a:lnTo>
                      <a:close/>
                    </a:path>
                  </a:pathLst>
                </a:custGeom>
                <a:solidFill>
                  <a:srgbClr val="E11A81"/>
                </a:solidFill>
                <a:ln>
                  <a:noFill/>
                </a:ln>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14" name="Freeform 67">
                  <a:extLst>
                    <a:ext uri="{FF2B5EF4-FFF2-40B4-BE49-F238E27FC236}">
                      <a16:creationId xmlns:a16="http://schemas.microsoft.com/office/drawing/2014/main" id="{9902CBC8-1917-4152-88B8-203F448B14A2}"/>
                    </a:ext>
                  </a:extLst>
                </p:cNvPr>
                <p:cNvSpPr>
                  <a:spLocks/>
                </p:cNvSpPr>
                <p:nvPr/>
              </p:nvSpPr>
              <p:spPr bwMode="auto">
                <a:xfrm>
                  <a:off x="3005138" y="5538788"/>
                  <a:ext cx="971550" cy="508000"/>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solidFill>
                  <a:srgbClr val="E11A81"/>
                </a:solidFill>
                <a:ln>
                  <a:noFill/>
                </a:ln>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15" name="Freeform 68">
                  <a:extLst>
                    <a:ext uri="{FF2B5EF4-FFF2-40B4-BE49-F238E27FC236}">
                      <a16:creationId xmlns:a16="http://schemas.microsoft.com/office/drawing/2014/main" id="{CC341394-2BF2-40CE-95B7-1447786FEDE4}"/>
                    </a:ext>
                  </a:extLst>
                </p:cNvPr>
                <p:cNvSpPr>
                  <a:spLocks/>
                </p:cNvSpPr>
                <p:nvPr/>
              </p:nvSpPr>
              <p:spPr bwMode="auto">
                <a:xfrm>
                  <a:off x="2830513" y="5246688"/>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solidFill>
                  <a:srgbClr val="E11A81"/>
                </a:solidFill>
                <a:ln>
                  <a:noFill/>
                </a:ln>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grpSp>
        </p:grpSp>
      </p:grpSp>
      <p:sp>
        <p:nvSpPr>
          <p:cNvPr id="121" name="TextBox 17">
            <a:extLst>
              <a:ext uri="{FF2B5EF4-FFF2-40B4-BE49-F238E27FC236}">
                <a16:creationId xmlns:a16="http://schemas.microsoft.com/office/drawing/2014/main" id="{8149372B-FD31-47BB-8A2C-2F3002CDBF5F}"/>
              </a:ext>
            </a:extLst>
          </p:cNvPr>
          <p:cNvSpPr txBox="1"/>
          <p:nvPr/>
        </p:nvSpPr>
        <p:spPr>
          <a:xfrm>
            <a:off x="3450340" y="2306299"/>
            <a:ext cx="1561407" cy="369332"/>
          </a:xfrm>
          <a:prstGeom prst="rect">
            <a:avLst/>
          </a:prstGeom>
          <a:noFill/>
        </p:spPr>
        <p:txBody>
          <a:bodyPr wrap="square" rtlCol="0">
            <a:spAutoFit/>
          </a:bodyPr>
          <a:lstStyle/>
          <a:p>
            <a:pPr algn="ctr" defTabSz="1625519">
              <a:defRPr/>
            </a:pPr>
            <a:r>
              <a:rPr lang="fr-FR" b="1" kern="0">
                <a:solidFill>
                  <a:srgbClr val="E11A81"/>
                </a:solidFill>
                <a:latin typeface="Calibri" panose="020F0502020204030204" pitchFamily="34" charset="0"/>
                <a:ea typeface="Geneva" charset="-128"/>
                <a:cs typeface="Calibri" panose="020F0502020204030204" pitchFamily="34" charset="0"/>
              </a:rPr>
              <a:t>Usager</a:t>
            </a:r>
          </a:p>
        </p:txBody>
      </p:sp>
      <p:grpSp>
        <p:nvGrpSpPr>
          <p:cNvPr id="122" name="Group 32">
            <a:extLst>
              <a:ext uri="{FF2B5EF4-FFF2-40B4-BE49-F238E27FC236}">
                <a16:creationId xmlns:a16="http://schemas.microsoft.com/office/drawing/2014/main" id="{B6E382A3-0739-4C22-83BC-2CD9480C8A81}"/>
              </a:ext>
            </a:extLst>
          </p:cNvPr>
          <p:cNvGrpSpPr>
            <a:grpSpLocks noChangeAspect="1"/>
          </p:cNvGrpSpPr>
          <p:nvPr/>
        </p:nvGrpSpPr>
        <p:grpSpPr>
          <a:xfrm>
            <a:off x="5385816" y="2023183"/>
            <a:ext cx="852720" cy="981815"/>
            <a:chOff x="7229336" y="3011905"/>
            <a:chExt cx="1296680" cy="1884001"/>
          </a:xfrm>
        </p:grpSpPr>
        <p:grpSp>
          <p:nvGrpSpPr>
            <p:cNvPr id="123" name="Group 34">
              <a:extLst>
                <a:ext uri="{FF2B5EF4-FFF2-40B4-BE49-F238E27FC236}">
                  <a16:creationId xmlns:a16="http://schemas.microsoft.com/office/drawing/2014/main" id="{5A2D6A2D-492B-42D5-89A0-99E5B72051AE}"/>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133" name="Freeform 31">
                <a:extLst>
                  <a:ext uri="{FF2B5EF4-FFF2-40B4-BE49-F238E27FC236}">
                    <a16:creationId xmlns:a16="http://schemas.microsoft.com/office/drawing/2014/main" id="{40C62E94-C5EB-4CF0-B649-F2B97E207583}"/>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34" name="Freeform 32">
                <a:extLst>
                  <a:ext uri="{FF2B5EF4-FFF2-40B4-BE49-F238E27FC236}">
                    <a16:creationId xmlns:a16="http://schemas.microsoft.com/office/drawing/2014/main" id="{64C10A16-D494-4543-9091-B707E935CB7C}"/>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35" name="Freeform 33">
                <a:extLst>
                  <a:ext uri="{FF2B5EF4-FFF2-40B4-BE49-F238E27FC236}">
                    <a16:creationId xmlns:a16="http://schemas.microsoft.com/office/drawing/2014/main" id="{CE950FDE-2DE9-42C6-909C-5A3A3A3580A6}"/>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36" name="Freeform 34">
                <a:extLst>
                  <a:ext uri="{FF2B5EF4-FFF2-40B4-BE49-F238E27FC236}">
                    <a16:creationId xmlns:a16="http://schemas.microsoft.com/office/drawing/2014/main" id="{7B614EA7-2E74-4CAF-9618-5EEDD6064E7F}"/>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37" name="Freeform 35">
                <a:extLst>
                  <a:ext uri="{FF2B5EF4-FFF2-40B4-BE49-F238E27FC236}">
                    <a16:creationId xmlns:a16="http://schemas.microsoft.com/office/drawing/2014/main" id="{F5865A64-104D-493F-9273-B4B3C5182C28}"/>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sp>
            <p:nvSpPr>
              <p:cNvPr id="138" name="Freeform 36">
                <a:extLst>
                  <a:ext uri="{FF2B5EF4-FFF2-40B4-BE49-F238E27FC236}">
                    <a16:creationId xmlns:a16="http://schemas.microsoft.com/office/drawing/2014/main" id="{D2ADB12A-CBDA-43E4-9424-6FEE4E8F722B}"/>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grpSp>
        <p:grpSp>
          <p:nvGrpSpPr>
            <p:cNvPr id="124" name="Group 36">
              <a:extLst>
                <a:ext uri="{FF2B5EF4-FFF2-40B4-BE49-F238E27FC236}">
                  <a16:creationId xmlns:a16="http://schemas.microsoft.com/office/drawing/2014/main" id="{91D0B6B8-64EB-4148-B8D2-800CF444945C}"/>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27" name="Freeform 37">
                <a:extLst>
                  <a:ext uri="{FF2B5EF4-FFF2-40B4-BE49-F238E27FC236}">
                    <a16:creationId xmlns:a16="http://schemas.microsoft.com/office/drawing/2014/main" id="{887FE06D-E711-42B0-922F-7133561A8145}"/>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sp>
            <p:nvSpPr>
              <p:cNvPr id="128" name="Freeform 38">
                <a:extLst>
                  <a:ext uri="{FF2B5EF4-FFF2-40B4-BE49-F238E27FC236}">
                    <a16:creationId xmlns:a16="http://schemas.microsoft.com/office/drawing/2014/main" id="{58DC23DD-9E13-44F6-8F73-2075ED54299B}"/>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sp>
            <p:nvSpPr>
              <p:cNvPr id="129" name="Freeform 39">
                <a:extLst>
                  <a:ext uri="{FF2B5EF4-FFF2-40B4-BE49-F238E27FC236}">
                    <a16:creationId xmlns:a16="http://schemas.microsoft.com/office/drawing/2014/main" id="{E5740FE9-7FCE-42DB-ABFF-E70CDFD6082F}"/>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sp>
            <p:nvSpPr>
              <p:cNvPr id="130" name="Freeform 40">
                <a:extLst>
                  <a:ext uri="{FF2B5EF4-FFF2-40B4-BE49-F238E27FC236}">
                    <a16:creationId xmlns:a16="http://schemas.microsoft.com/office/drawing/2014/main" id="{1D7E7C5C-AC80-4C55-8407-55E12189D822}"/>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sp>
            <p:nvSpPr>
              <p:cNvPr id="131" name="Freeform 41">
                <a:extLst>
                  <a:ext uri="{FF2B5EF4-FFF2-40B4-BE49-F238E27FC236}">
                    <a16:creationId xmlns:a16="http://schemas.microsoft.com/office/drawing/2014/main" id="{4EE129AC-2848-43CD-8942-E320FB8489C7}"/>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sp>
            <p:nvSpPr>
              <p:cNvPr id="132" name="Freeform 42">
                <a:extLst>
                  <a:ext uri="{FF2B5EF4-FFF2-40B4-BE49-F238E27FC236}">
                    <a16:creationId xmlns:a16="http://schemas.microsoft.com/office/drawing/2014/main" id="{E6C38D24-AFD0-48B7-AE4B-12E8224AA8B2}"/>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US" sz="3200" kern="0">
                  <a:solidFill>
                    <a:srgbClr val="0C419A"/>
                  </a:solidFill>
                  <a:ea typeface="Geneva" charset="-128"/>
                </a:endParaRPr>
              </a:p>
            </p:txBody>
          </p:sp>
        </p:grpSp>
        <p:sp>
          <p:nvSpPr>
            <p:cNvPr id="125" name="Rectangle 124">
              <a:extLst>
                <a:ext uri="{FF2B5EF4-FFF2-40B4-BE49-F238E27FC236}">
                  <a16:creationId xmlns:a16="http://schemas.microsoft.com/office/drawing/2014/main" id="{E690D915-E18F-4A5C-A92B-1C747FC41276}"/>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625519">
                <a:defRPr/>
              </a:pPr>
              <a:endParaRPr lang="fr-FR" sz="3200" kern="0">
                <a:solidFill>
                  <a:prstClr val="white"/>
                </a:solidFill>
                <a:ea typeface="Geneva" charset="-128"/>
              </a:endParaRPr>
            </a:p>
          </p:txBody>
        </p:sp>
        <p:sp>
          <p:nvSpPr>
            <p:cNvPr id="126" name="Freeform 32">
              <a:extLst>
                <a:ext uri="{FF2B5EF4-FFF2-40B4-BE49-F238E27FC236}">
                  <a16:creationId xmlns:a16="http://schemas.microsoft.com/office/drawing/2014/main" id="{F0B286F3-51E4-48C4-9262-DFEFBC0B6AEE}"/>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2560" tIns="81280" rIns="162560" bIns="81280" numCol="1" anchor="t" anchorCtr="0" compatLnSpc="1">
              <a:prstTxWarp prst="textNoShape">
                <a:avLst/>
              </a:prstTxWarp>
            </a:bodyPr>
            <a:lstStyle/>
            <a:p>
              <a:pPr defTabSz="1625519">
                <a:defRPr/>
              </a:pPr>
              <a:endParaRPr lang="en-IN" sz="3200" kern="0">
                <a:solidFill>
                  <a:srgbClr val="0C419A"/>
                </a:solidFill>
                <a:ea typeface="Geneva" charset="-128"/>
              </a:endParaRPr>
            </a:p>
          </p:txBody>
        </p:sp>
      </p:grpSp>
      <p:sp>
        <p:nvSpPr>
          <p:cNvPr id="139" name="TextBox 33">
            <a:extLst>
              <a:ext uri="{FF2B5EF4-FFF2-40B4-BE49-F238E27FC236}">
                <a16:creationId xmlns:a16="http://schemas.microsoft.com/office/drawing/2014/main" id="{7BC34DAA-FE30-4C90-91C7-542D3BE12424}"/>
              </a:ext>
            </a:extLst>
          </p:cNvPr>
          <p:cNvSpPr txBox="1"/>
          <p:nvPr/>
        </p:nvSpPr>
        <p:spPr>
          <a:xfrm>
            <a:off x="5962360" y="2306299"/>
            <a:ext cx="2751841" cy="369332"/>
          </a:xfrm>
          <a:prstGeom prst="rect">
            <a:avLst/>
          </a:prstGeom>
          <a:noFill/>
        </p:spPr>
        <p:txBody>
          <a:bodyPr wrap="square" rtlCol="0">
            <a:spAutoFit/>
          </a:bodyPr>
          <a:lstStyle/>
          <a:p>
            <a:pPr algn="ctr" defTabSz="1625519">
              <a:defRPr/>
            </a:pPr>
            <a:r>
              <a:rPr lang="fr-FR" b="1" kern="0">
                <a:solidFill>
                  <a:srgbClr val="0070C0"/>
                </a:solidFill>
                <a:latin typeface="Calibri" panose="020F0502020204030204" pitchFamily="34" charset="0"/>
                <a:ea typeface="Geneva" charset="-128"/>
                <a:cs typeface="Calibri" panose="020F0502020204030204" pitchFamily="34" charset="0"/>
              </a:rPr>
              <a:t>Professionnel</a:t>
            </a:r>
          </a:p>
        </p:txBody>
      </p:sp>
      <p:pic>
        <p:nvPicPr>
          <p:cNvPr id="140" name="Picture 50">
            <a:extLst>
              <a:ext uri="{FF2B5EF4-FFF2-40B4-BE49-F238E27FC236}">
                <a16:creationId xmlns:a16="http://schemas.microsoft.com/office/drawing/2014/main" id="{B3E42009-21FC-4B20-8651-681CFC713958}"/>
              </a:ext>
            </a:extLst>
          </p:cNvPr>
          <p:cNvPicPr>
            <a:picLocks noChangeAspect="1"/>
          </p:cNvPicPr>
          <p:nvPr/>
        </p:nvPicPr>
        <p:blipFill>
          <a:blip r:embed="rId3"/>
          <a:stretch>
            <a:fillRect/>
          </a:stretch>
        </p:blipFill>
        <p:spPr>
          <a:xfrm>
            <a:off x="5648921" y="3144201"/>
            <a:ext cx="901289" cy="728001"/>
          </a:xfrm>
          <a:prstGeom prst="rect">
            <a:avLst/>
          </a:prstGeom>
        </p:spPr>
      </p:pic>
      <p:pic>
        <p:nvPicPr>
          <p:cNvPr id="141" name="Picture 51">
            <a:extLst>
              <a:ext uri="{FF2B5EF4-FFF2-40B4-BE49-F238E27FC236}">
                <a16:creationId xmlns:a16="http://schemas.microsoft.com/office/drawing/2014/main" id="{C62B9A66-A1A7-4EA8-8543-C4C88645C672}"/>
              </a:ext>
            </a:extLst>
          </p:cNvPr>
          <p:cNvPicPr>
            <a:picLocks noChangeAspect="1"/>
          </p:cNvPicPr>
          <p:nvPr/>
        </p:nvPicPr>
        <p:blipFill>
          <a:blip r:embed="rId4"/>
          <a:stretch>
            <a:fillRect/>
          </a:stretch>
        </p:blipFill>
        <p:spPr>
          <a:xfrm>
            <a:off x="5196210" y="4132233"/>
            <a:ext cx="1741332" cy="839996"/>
          </a:xfrm>
          <a:prstGeom prst="rect">
            <a:avLst/>
          </a:prstGeom>
        </p:spPr>
      </p:pic>
      <p:cxnSp>
        <p:nvCxnSpPr>
          <p:cNvPr id="142" name="Straight Connector 53">
            <a:extLst>
              <a:ext uri="{FF2B5EF4-FFF2-40B4-BE49-F238E27FC236}">
                <a16:creationId xmlns:a16="http://schemas.microsoft.com/office/drawing/2014/main" id="{4C500938-CC6C-4948-964B-4F43D6B9FB8E}"/>
              </a:ext>
            </a:extLst>
          </p:cNvPr>
          <p:cNvCxnSpPr>
            <a:cxnSpLocks/>
          </p:cNvCxnSpPr>
          <p:nvPr/>
        </p:nvCxnSpPr>
        <p:spPr>
          <a:xfrm>
            <a:off x="1172151" y="3972630"/>
            <a:ext cx="10031554" cy="0"/>
          </a:xfrm>
          <a:prstGeom prst="line">
            <a:avLst/>
          </a:prstGeom>
          <a:noFill/>
          <a:ln w="12700" cap="flat" cmpd="sng" algn="ctr">
            <a:solidFill>
              <a:srgbClr val="545859">
                <a:lumMod val="40000"/>
                <a:lumOff val="60000"/>
              </a:srgbClr>
            </a:solidFill>
            <a:prstDash val="lgDashDotDot"/>
            <a:miter lim="800000"/>
          </a:ln>
          <a:effectLst/>
        </p:spPr>
      </p:cxnSp>
      <p:pic>
        <p:nvPicPr>
          <p:cNvPr id="143" name="Image 5">
            <a:extLst>
              <a:ext uri="{FF2B5EF4-FFF2-40B4-BE49-F238E27FC236}">
                <a16:creationId xmlns:a16="http://schemas.microsoft.com/office/drawing/2014/main" id="{47B6977E-9A00-43E8-BC03-0B37BD1B9D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7188" y="3170959"/>
            <a:ext cx="1008493" cy="701243"/>
          </a:xfrm>
          <a:prstGeom prst="rect">
            <a:avLst/>
          </a:prstGeom>
        </p:spPr>
      </p:pic>
      <p:pic>
        <p:nvPicPr>
          <p:cNvPr id="144" name="Image 5">
            <a:extLst>
              <a:ext uri="{FF2B5EF4-FFF2-40B4-BE49-F238E27FC236}">
                <a16:creationId xmlns:a16="http://schemas.microsoft.com/office/drawing/2014/main" id="{47B6977E-9A00-43E8-BC03-0B37BD1B9D2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97188" y="4270986"/>
            <a:ext cx="1008493" cy="701243"/>
          </a:xfrm>
          <a:prstGeom prst="rect">
            <a:avLst/>
          </a:prstGeom>
        </p:spPr>
      </p:pic>
      <p:sp>
        <p:nvSpPr>
          <p:cNvPr id="145" name="Flèche droite 144"/>
          <p:cNvSpPr/>
          <p:nvPr/>
        </p:nvSpPr>
        <p:spPr>
          <a:xfrm>
            <a:off x="6986282" y="3425244"/>
            <a:ext cx="503683" cy="201669"/>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6" name="Flèche droite 145"/>
          <p:cNvSpPr/>
          <p:nvPr/>
        </p:nvSpPr>
        <p:spPr>
          <a:xfrm>
            <a:off x="6990373" y="4449683"/>
            <a:ext cx="503683" cy="201669"/>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7" name="Rectangle 146"/>
          <p:cNvSpPr/>
          <p:nvPr/>
        </p:nvSpPr>
        <p:spPr>
          <a:xfrm>
            <a:off x="1464759" y="5306013"/>
            <a:ext cx="10569039" cy="76383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1625519">
              <a:spcBef>
                <a:spcPts val="533"/>
              </a:spcBef>
              <a:spcAft>
                <a:spcPts val="533"/>
              </a:spcAft>
              <a:defRPr/>
            </a:pPr>
            <a:r>
              <a:rPr lang="fr-FR">
                <a:solidFill>
                  <a:schemeClr val="tx2"/>
                </a:solidFill>
                <a:latin typeface="Calibri" panose="020F0502020204030204" pitchFamily="34" charset="0"/>
                <a:ea typeface="Geneva"/>
                <a:cs typeface="Calibri" panose="020F0502020204030204" pitchFamily="34" charset="0"/>
              </a:rPr>
              <a:t>La mise à jour Ségur de vos logiciels vise notamment à </a:t>
            </a:r>
            <a:r>
              <a:rPr lang="fr-FR" b="1">
                <a:solidFill>
                  <a:srgbClr val="DF2680"/>
                </a:solidFill>
                <a:latin typeface="Calibri" panose="020F0502020204030204" pitchFamily="34" charset="0"/>
                <a:ea typeface="Geneva"/>
                <a:cs typeface="Calibri" panose="020F0502020204030204" pitchFamily="34" charset="0"/>
              </a:rPr>
              <a:t>automatiser le partage des documents vers Mon espace santé </a:t>
            </a:r>
            <a:r>
              <a:rPr lang="fr-FR">
                <a:solidFill>
                  <a:schemeClr val="tx2"/>
                </a:solidFill>
                <a:latin typeface="Calibri" panose="020F0502020204030204" pitchFamily="34" charset="0"/>
                <a:ea typeface="Geneva"/>
                <a:cs typeface="Calibri" panose="020F0502020204030204" pitchFamily="34" charset="0"/>
              </a:rPr>
              <a:t>et donc à réduire au maximum toute « action humaine supplémentaire »</a:t>
            </a:r>
          </a:p>
        </p:txBody>
      </p:sp>
      <p:pic>
        <p:nvPicPr>
          <p:cNvPr id="65" name="Picture 12" descr="Logo&#10;&#10;Description automatically generated">
            <a:extLst>
              <a:ext uri="{FF2B5EF4-FFF2-40B4-BE49-F238E27FC236}">
                <a16:creationId xmlns:a16="http://schemas.microsoft.com/office/drawing/2014/main" id="{9337ECD4-EF7E-EF56-5E8E-E8088A0BD5A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35793" y="5269630"/>
            <a:ext cx="910094" cy="91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30062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r>
              <a:rPr lang="fr-FR" sz="1800">
                <a:sym typeface="Arial"/>
              </a:rPr>
              <a:t>Un objectif global : généraliser le partage fluide et sécurisé des données de santé entre professionnels de santé et avec l’usager, pour mieux prévenir et mieux soigner</a:t>
            </a:r>
            <a:endParaRPr lang="fr-FR" sz="1800"/>
          </a:p>
        </p:txBody>
      </p:sp>
      <p:sp>
        <p:nvSpPr>
          <p:cNvPr id="5" name="Rectangle 4">
            <a:extLst>
              <a:ext uri="{FF2B5EF4-FFF2-40B4-BE49-F238E27FC236}">
                <a16:creationId xmlns:a16="http://schemas.microsoft.com/office/drawing/2014/main" id="{5656E092-49D7-4356-883A-8F6B37585BC7}"/>
              </a:ext>
            </a:extLst>
          </p:cNvPr>
          <p:cNvSpPr/>
          <p:nvPr/>
        </p:nvSpPr>
        <p:spPr>
          <a:xfrm>
            <a:off x="1318583" y="4042675"/>
            <a:ext cx="6643866" cy="784029"/>
          </a:xfrm>
          <a:prstGeom prst="rect">
            <a:avLst/>
          </a:prstGeom>
          <a:noFill/>
          <a:ln w="6350" cap="sq"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400"/>
              </a:spcBef>
              <a:spcAft>
                <a:spcPts val="400"/>
              </a:spcAft>
              <a:buClrTx/>
              <a:buSzTx/>
              <a:buFontTx/>
              <a:buNone/>
              <a:tabLst/>
              <a:defRPr/>
            </a:pPr>
            <a:r>
              <a:rPr kumimoji="0" lang="fr-FR" sz="1400" b="1" i="0" u="none" strike="noStrike" kern="0" cap="none" spc="0" normalizeH="0" baseline="0" noProof="0">
                <a:ln>
                  <a:noFill/>
                </a:ln>
                <a:solidFill>
                  <a:srgbClr val="0C419A"/>
                </a:solidFill>
                <a:effectLst/>
                <a:uLnTx/>
                <a:uFillTx/>
                <a:latin typeface="Arial" panose="020B0604020202020204"/>
                <a:ea typeface="Geneva" charset="-128"/>
                <a:cs typeface="+mn-cs"/>
              </a:rPr>
              <a:t>Des leviers incitatifs </a:t>
            </a:r>
            <a:r>
              <a:rPr kumimoji="0" lang="fr-FR" sz="1400" b="1" i="0" u="none" strike="noStrike" kern="0" cap="none" spc="0" normalizeH="0" baseline="0" noProof="0">
                <a:ln>
                  <a:noFill/>
                </a:ln>
                <a:solidFill>
                  <a:srgbClr val="545859"/>
                </a:solidFill>
                <a:effectLst/>
                <a:uLnTx/>
                <a:uFillTx/>
                <a:latin typeface="Arial" panose="020B0604020202020204"/>
                <a:ea typeface="Geneva" charset="-128"/>
                <a:cs typeface="+mn-cs"/>
              </a:rPr>
              <a:t>pour les professionnels et établissements de santé pour l’envoi de documents de santé utiles et l’usage de la messagerie sécurisée.</a:t>
            </a:r>
          </a:p>
        </p:txBody>
      </p:sp>
      <p:sp>
        <p:nvSpPr>
          <p:cNvPr id="6" name="Triangle isocèle 5">
            <a:extLst>
              <a:ext uri="{FF2B5EF4-FFF2-40B4-BE49-F238E27FC236}">
                <a16:creationId xmlns:a16="http://schemas.microsoft.com/office/drawing/2014/main" id="{35FC0956-D29F-4DC8-8CDA-3B995F71EB04}"/>
              </a:ext>
            </a:extLst>
          </p:cNvPr>
          <p:cNvSpPr/>
          <p:nvPr/>
        </p:nvSpPr>
        <p:spPr>
          <a:xfrm rot="5400000">
            <a:off x="7897561" y="4157183"/>
            <a:ext cx="522515" cy="326413"/>
          </a:xfrm>
          <a:prstGeom prst="triangle">
            <a:avLst/>
          </a:prstGeom>
          <a:solidFill>
            <a:srgbClr val="E73083"/>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333" b="0" i="0" u="none" strike="noStrike" kern="0" cap="none" spc="0" normalizeH="0" baseline="0" noProof="0">
              <a:ln>
                <a:noFill/>
              </a:ln>
              <a:solidFill>
                <a:srgbClr val="E73083"/>
              </a:solidFill>
              <a:effectLst/>
              <a:uLnTx/>
              <a:uFillTx/>
              <a:latin typeface="Arial" panose="020B0604020202020204"/>
              <a:ea typeface="Geneva" charset="-128"/>
              <a:cs typeface="+mn-cs"/>
            </a:endParaRPr>
          </a:p>
        </p:txBody>
      </p:sp>
      <p:sp>
        <p:nvSpPr>
          <p:cNvPr id="7" name="ZoneTexte 6">
            <a:extLst>
              <a:ext uri="{FF2B5EF4-FFF2-40B4-BE49-F238E27FC236}">
                <a16:creationId xmlns:a16="http://schemas.microsoft.com/office/drawing/2014/main" id="{BC541251-1FCB-41E1-9CC4-CA62A3EE29D0}"/>
              </a:ext>
            </a:extLst>
          </p:cNvPr>
          <p:cNvSpPr txBox="1"/>
          <p:nvPr/>
        </p:nvSpPr>
        <p:spPr>
          <a:xfrm>
            <a:off x="8533805" y="3966542"/>
            <a:ext cx="2630612" cy="707694"/>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3" b="1" i="0" u="none" strike="noStrike" kern="0" cap="none" spc="0" normalizeH="0" baseline="0" noProof="0">
                <a:ln>
                  <a:noFill/>
                </a:ln>
                <a:solidFill>
                  <a:srgbClr val="E73083"/>
                </a:solidFill>
                <a:effectLst/>
                <a:uLnTx/>
                <a:uFillTx/>
                <a:latin typeface="Arial" panose="020B0604020202020204" pitchFamily="34" charset="0"/>
                <a:ea typeface="Geneva" charset="-128"/>
                <a:cs typeface="+mn-cs"/>
              </a:rPr>
              <a:t>Avenant 9 pour les médecins libéraux</a:t>
            </a:r>
            <a:r>
              <a:rPr kumimoji="0" lang="fr-FR" sz="1333" b="0" i="0" u="none" strike="noStrike" kern="0" cap="none" spc="0" normalizeH="0" baseline="0" noProof="0">
                <a:ln>
                  <a:noFill/>
                </a:ln>
                <a:solidFill>
                  <a:srgbClr val="E73083"/>
                </a:solidFill>
                <a:effectLst/>
                <a:uLnTx/>
                <a:uFillTx/>
                <a:latin typeface="Arial" panose="020B0604020202020204" pitchFamily="34" charset="0"/>
                <a:ea typeface="Geneva" charset="-128"/>
                <a:cs typeface="+mn-cs"/>
              </a:rPr>
              <a:t>, </a:t>
            </a:r>
            <a:r>
              <a:rPr lang="fr-FR" sz="1333" kern="0">
                <a:solidFill>
                  <a:srgbClr val="E73083"/>
                </a:solidFill>
                <a:latin typeface="Arial" panose="020B0604020202020204" pitchFamily="34" charset="0"/>
                <a:ea typeface="Geneva" charset="-128"/>
              </a:rPr>
              <a:t>et autres dispositifs (SUN-ES, IFAQ,…)</a:t>
            </a:r>
            <a:endParaRPr kumimoji="0" lang="fr-FR" sz="1333" b="0" i="0" u="none" strike="noStrike" kern="0" cap="none" spc="0" normalizeH="0" baseline="0" noProof="0">
              <a:ln>
                <a:noFill/>
              </a:ln>
              <a:solidFill>
                <a:srgbClr val="E73083"/>
              </a:solidFill>
              <a:effectLst/>
              <a:uLnTx/>
              <a:uFillTx/>
              <a:latin typeface="Arial" panose="020B0604020202020204" pitchFamily="34" charset="0"/>
              <a:ea typeface="Geneva" charset="-128"/>
              <a:cs typeface="+mn-cs"/>
            </a:endParaRPr>
          </a:p>
        </p:txBody>
      </p:sp>
      <p:pic>
        <p:nvPicPr>
          <p:cNvPr id="8" name="Picture 6" descr="Control lever free icon">
            <a:extLst>
              <a:ext uri="{FF2B5EF4-FFF2-40B4-BE49-F238E27FC236}">
                <a16:creationId xmlns:a16="http://schemas.microsoft.com/office/drawing/2014/main" id="{F284EE5A-6F6D-4830-A42A-8390EB50F6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2745" y="4028289"/>
            <a:ext cx="812800" cy="812800"/>
          </a:xfrm>
          <a:prstGeom prst="rect">
            <a:avLst/>
          </a:prstGeom>
          <a:noFill/>
          <a:extLst>
            <a:ext uri="{909E8E84-426E-40DD-AFC4-6F175D3DCCD1}">
              <a14:hiddenFill xmlns:a14="http://schemas.microsoft.com/office/drawing/2010/main">
                <a:solidFill>
                  <a:srgbClr val="FFFFFF"/>
                </a:solidFill>
              </a14:hiddenFill>
            </a:ext>
          </a:extLst>
        </p:spPr>
      </p:pic>
      <p:sp>
        <p:nvSpPr>
          <p:cNvPr id="9" name="Triangle isocèle 1">
            <a:extLst>
              <a:ext uri="{FF2B5EF4-FFF2-40B4-BE49-F238E27FC236}">
                <a16:creationId xmlns:a16="http://schemas.microsoft.com/office/drawing/2014/main" id="{90E94486-9BE4-44C6-81EE-E95F52821B57}"/>
              </a:ext>
            </a:extLst>
          </p:cNvPr>
          <p:cNvSpPr/>
          <p:nvPr/>
        </p:nvSpPr>
        <p:spPr>
          <a:xfrm rot="5400000">
            <a:off x="7897561" y="2003085"/>
            <a:ext cx="522515" cy="326413"/>
          </a:xfrm>
          <a:prstGeom prst="triangle">
            <a:avLst/>
          </a:prstGeom>
          <a:solidFill>
            <a:srgbClr val="E73083"/>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333" b="0" i="0" u="none" strike="noStrike" kern="0" cap="none" spc="0" normalizeH="0" baseline="0" noProof="0">
              <a:ln>
                <a:noFill/>
              </a:ln>
              <a:solidFill>
                <a:srgbClr val="E73083"/>
              </a:solidFill>
              <a:effectLst/>
              <a:uLnTx/>
              <a:uFillTx/>
              <a:latin typeface="Arial" panose="020B0604020202020204"/>
              <a:ea typeface="Geneva" charset="-128"/>
              <a:cs typeface="+mn-cs"/>
            </a:endParaRPr>
          </a:p>
        </p:txBody>
      </p:sp>
      <p:sp>
        <p:nvSpPr>
          <p:cNvPr id="10" name="ZoneTexte 2">
            <a:extLst>
              <a:ext uri="{FF2B5EF4-FFF2-40B4-BE49-F238E27FC236}">
                <a16:creationId xmlns:a16="http://schemas.microsoft.com/office/drawing/2014/main" id="{EA17A39F-653E-46F6-A347-91CEFFC81F76}"/>
              </a:ext>
            </a:extLst>
          </p:cNvPr>
          <p:cNvSpPr txBox="1"/>
          <p:nvPr/>
        </p:nvSpPr>
        <p:spPr>
          <a:xfrm>
            <a:off x="8533804" y="1915005"/>
            <a:ext cx="2742531" cy="502573"/>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3" b="0" i="0" u="none" strike="noStrike" kern="0" cap="none" spc="0" normalizeH="0" baseline="0" noProof="0">
                <a:ln>
                  <a:noFill/>
                </a:ln>
                <a:solidFill>
                  <a:srgbClr val="E73083"/>
                </a:solidFill>
                <a:effectLst/>
                <a:uLnTx/>
                <a:uFillTx/>
                <a:latin typeface="Arial" panose="020B0604020202020204" pitchFamily="34" charset="0"/>
                <a:ea typeface="Geneva" charset="-128"/>
                <a:cs typeface="+mn-cs"/>
              </a:rPr>
              <a:t>Lancement en février</a:t>
            </a:r>
            <a:r>
              <a:rPr kumimoji="0" lang="fr-FR" sz="1333" b="0" i="0" u="none" strike="noStrike" kern="0" cap="none" spc="0" normalizeH="0" noProof="0">
                <a:ln>
                  <a:noFill/>
                </a:ln>
                <a:solidFill>
                  <a:srgbClr val="E73083"/>
                </a:solidFill>
                <a:effectLst/>
                <a:uLnTx/>
                <a:uFillTx/>
                <a:latin typeface="Arial" panose="020B0604020202020204" pitchFamily="34" charset="0"/>
                <a:ea typeface="Geneva" charset="-128"/>
                <a:cs typeface="+mn-cs"/>
              </a:rPr>
              <a:t> 2022 de </a:t>
            </a:r>
            <a:r>
              <a:rPr kumimoji="0" lang="fr-FR" sz="1333" b="1" i="0" u="none" strike="noStrike" kern="0" cap="none" spc="0" normalizeH="0" noProof="0">
                <a:ln>
                  <a:noFill/>
                </a:ln>
                <a:solidFill>
                  <a:srgbClr val="E73083"/>
                </a:solidFill>
                <a:effectLst/>
                <a:uLnTx/>
                <a:uFillTx/>
                <a:latin typeface="Arial" panose="020B0604020202020204" pitchFamily="34" charset="0"/>
                <a:ea typeface="Geneva" charset="-128"/>
                <a:cs typeface="+mn-cs"/>
              </a:rPr>
              <a:t>Mon espace santé</a:t>
            </a:r>
            <a:endParaRPr kumimoji="0" lang="fr-FR" sz="1333" b="1" i="0" u="none" strike="noStrike" kern="0" cap="none" spc="0" normalizeH="0" baseline="0" noProof="0">
              <a:ln>
                <a:noFill/>
              </a:ln>
              <a:solidFill>
                <a:srgbClr val="E73083"/>
              </a:solidFill>
              <a:effectLst/>
              <a:uLnTx/>
              <a:uFillTx/>
              <a:latin typeface="Arial" panose="020B0604020202020204" pitchFamily="34" charset="0"/>
              <a:ea typeface="Geneva" charset="-128"/>
              <a:cs typeface="+mn-cs"/>
            </a:endParaRPr>
          </a:p>
        </p:txBody>
      </p:sp>
      <p:pic>
        <p:nvPicPr>
          <p:cNvPr id="11" name="Picture 2" descr="Ergonomic free icon">
            <a:extLst>
              <a:ext uri="{FF2B5EF4-FFF2-40B4-BE49-F238E27FC236}">
                <a16:creationId xmlns:a16="http://schemas.microsoft.com/office/drawing/2014/main" id="{BF8CF5B4-C8BC-4C30-9509-40F3B13EB9D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2745" y="1874191"/>
            <a:ext cx="812800" cy="81280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656E092-49D7-4356-883A-8F6B37585BC7}"/>
              </a:ext>
            </a:extLst>
          </p:cNvPr>
          <p:cNvSpPr/>
          <p:nvPr/>
        </p:nvSpPr>
        <p:spPr>
          <a:xfrm>
            <a:off x="1318584" y="1854569"/>
            <a:ext cx="6638987" cy="852044"/>
          </a:xfrm>
          <a:prstGeom prst="rect">
            <a:avLst/>
          </a:prstGeom>
          <a:noFill/>
          <a:ln w="6350" cap="sq"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400"/>
              </a:spcBef>
              <a:spcAft>
                <a:spcPts val="400"/>
              </a:spcAft>
              <a:buClrTx/>
              <a:buSzTx/>
              <a:buFontTx/>
              <a:buNone/>
              <a:tabLst/>
              <a:defRPr/>
            </a:pPr>
            <a:r>
              <a:rPr kumimoji="0" lang="fr-FR" sz="1400" b="1" i="0" u="none" strike="noStrike" kern="0" cap="none" spc="0" normalizeH="0" baseline="0" noProof="0">
                <a:ln>
                  <a:noFill/>
                </a:ln>
                <a:solidFill>
                  <a:srgbClr val="0C419A"/>
                </a:solidFill>
                <a:effectLst/>
                <a:uLnTx/>
                <a:uFillTx/>
                <a:latin typeface="Arial" panose="020B0604020202020204"/>
                <a:ea typeface="Geneva" charset="-128"/>
                <a:cs typeface="+mn-cs"/>
              </a:rPr>
              <a:t>Un service public numérique universel, </a:t>
            </a:r>
            <a:r>
              <a:rPr kumimoji="0" lang="fr-FR" sz="1400" b="1" i="0" u="none" strike="noStrike" kern="0" cap="none" spc="0" normalizeH="0" baseline="0" noProof="0">
                <a:ln>
                  <a:noFill/>
                </a:ln>
                <a:solidFill>
                  <a:prstClr val="black">
                    <a:lumMod val="65000"/>
                    <a:lumOff val="35000"/>
                  </a:prstClr>
                </a:solidFill>
                <a:effectLst/>
                <a:uLnTx/>
                <a:uFillTx/>
                <a:latin typeface="Arial" panose="020B0604020202020204"/>
                <a:ea typeface="Geneva" charset="-128"/>
                <a:cs typeface="+mn-cs"/>
              </a:rPr>
              <a:t>ergonomique et simple d’usage pour mettre à disposition de chaque assuré un véritable carnet de santé numérique sécurisé.</a:t>
            </a:r>
          </a:p>
        </p:txBody>
      </p:sp>
      <p:sp>
        <p:nvSpPr>
          <p:cNvPr id="13" name="Triangle isocèle 12">
            <a:extLst>
              <a:ext uri="{FF2B5EF4-FFF2-40B4-BE49-F238E27FC236}">
                <a16:creationId xmlns:a16="http://schemas.microsoft.com/office/drawing/2014/main" id="{70A1C0BA-90FE-4F28-AFE4-260B78E59895}"/>
              </a:ext>
            </a:extLst>
          </p:cNvPr>
          <p:cNvSpPr/>
          <p:nvPr/>
        </p:nvSpPr>
        <p:spPr>
          <a:xfrm rot="5400000">
            <a:off x="7897561" y="3089945"/>
            <a:ext cx="522515" cy="326413"/>
          </a:xfrm>
          <a:prstGeom prst="triangle">
            <a:avLst/>
          </a:prstGeom>
          <a:solidFill>
            <a:srgbClr val="E73083"/>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333" b="0" i="0" u="none" strike="noStrike" kern="0" cap="none" spc="0" normalizeH="0" baseline="0" noProof="0">
              <a:ln>
                <a:noFill/>
              </a:ln>
              <a:solidFill>
                <a:srgbClr val="E73083"/>
              </a:solidFill>
              <a:effectLst/>
              <a:uLnTx/>
              <a:uFillTx/>
              <a:latin typeface="Arial" panose="020B0604020202020204"/>
              <a:ea typeface="Geneva" charset="-128"/>
              <a:cs typeface="+mn-cs"/>
            </a:endParaRPr>
          </a:p>
        </p:txBody>
      </p:sp>
      <p:sp>
        <p:nvSpPr>
          <p:cNvPr id="14" name="ZoneTexte 13">
            <a:extLst>
              <a:ext uri="{FF2B5EF4-FFF2-40B4-BE49-F238E27FC236}">
                <a16:creationId xmlns:a16="http://schemas.microsoft.com/office/drawing/2014/main" id="{7DF86CCB-9295-44FB-8FEC-D4864A02A743}"/>
              </a:ext>
            </a:extLst>
          </p:cNvPr>
          <p:cNvSpPr txBox="1"/>
          <p:nvPr/>
        </p:nvSpPr>
        <p:spPr>
          <a:xfrm>
            <a:off x="8533805" y="2900188"/>
            <a:ext cx="2630612" cy="707694"/>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3" b="1" i="0" u="none" strike="noStrike" kern="0" cap="none" spc="0" normalizeH="0" baseline="0" noProof="0">
                <a:ln>
                  <a:noFill/>
                </a:ln>
                <a:solidFill>
                  <a:srgbClr val="E73083"/>
                </a:solidFill>
                <a:effectLst/>
                <a:uLnTx/>
                <a:uFillTx/>
                <a:latin typeface="Arial" panose="020B0604020202020204" pitchFamily="34" charset="0"/>
                <a:ea typeface="Geneva" charset="-128"/>
                <a:cs typeface="+mn-cs"/>
              </a:rPr>
              <a:t>Mises</a:t>
            </a:r>
            <a:r>
              <a:rPr kumimoji="0" lang="fr-FR" sz="1333" b="1" i="0" u="none" strike="noStrike" kern="0" cap="none" spc="0" normalizeH="0" noProof="0">
                <a:ln>
                  <a:noFill/>
                </a:ln>
                <a:solidFill>
                  <a:srgbClr val="E73083"/>
                </a:solidFill>
                <a:effectLst/>
                <a:uLnTx/>
                <a:uFillTx/>
                <a:latin typeface="Arial" panose="020B0604020202020204" pitchFamily="34" charset="0"/>
                <a:ea typeface="Geneva" charset="-128"/>
                <a:cs typeface="+mn-cs"/>
              </a:rPr>
              <a:t> à jour des logiciels </a:t>
            </a:r>
            <a:r>
              <a:rPr kumimoji="0" lang="fr-FR" sz="1333" b="0" i="0" u="none" strike="noStrike" kern="0" cap="none" spc="0" normalizeH="0" noProof="0">
                <a:ln>
                  <a:noFill/>
                </a:ln>
                <a:solidFill>
                  <a:srgbClr val="E73083"/>
                </a:solidFill>
                <a:effectLst/>
                <a:uLnTx/>
                <a:uFillTx/>
                <a:latin typeface="Arial" panose="020B0604020202020204" pitchFamily="34" charset="0"/>
                <a:ea typeface="Geneva" charset="-128"/>
                <a:cs typeface="+mn-cs"/>
              </a:rPr>
              <a:t>financée par le Ségur du numérique (dispositif SONS)</a:t>
            </a:r>
            <a:endParaRPr kumimoji="0" lang="fr-FR" sz="1333" b="0" i="0" u="none" strike="noStrike" kern="0" cap="none" spc="0" normalizeH="0" baseline="0" noProof="0">
              <a:ln>
                <a:noFill/>
              </a:ln>
              <a:solidFill>
                <a:srgbClr val="E73083"/>
              </a:solidFill>
              <a:effectLst/>
              <a:uLnTx/>
              <a:uFillTx/>
              <a:latin typeface="Arial" panose="020B0604020202020204" pitchFamily="34" charset="0"/>
              <a:ea typeface="Geneva" charset="-128"/>
              <a:cs typeface="+mn-cs"/>
            </a:endParaRPr>
          </a:p>
        </p:txBody>
      </p:sp>
      <p:pic>
        <p:nvPicPr>
          <p:cNvPr id="15" name="Picture 4" descr="Web development free icon">
            <a:extLst>
              <a:ext uri="{FF2B5EF4-FFF2-40B4-BE49-F238E27FC236}">
                <a16:creationId xmlns:a16="http://schemas.microsoft.com/office/drawing/2014/main" id="{E83AA719-2BAF-4561-8F47-0AA92FC291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2745" y="2961051"/>
            <a:ext cx="812800" cy="81280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656E092-49D7-4356-883A-8F6B37585BC7}"/>
              </a:ext>
            </a:extLst>
          </p:cNvPr>
          <p:cNvSpPr/>
          <p:nvPr/>
        </p:nvSpPr>
        <p:spPr>
          <a:xfrm>
            <a:off x="1318584" y="3072676"/>
            <a:ext cx="6638988" cy="589551"/>
          </a:xfrm>
          <a:prstGeom prst="rect">
            <a:avLst/>
          </a:prstGeom>
          <a:noFill/>
          <a:ln w="6350" cap="sq"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400"/>
              </a:spcBef>
              <a:spcAft>
                <a:spcPts val="400"/>
              </a:spcAft>
              <a:buClrTx/>
              <a:buSzTx/>
              <a:buFontTx/>
              <a:buNone/>
              <a:tabLst/>
              <a:defRPr/>
            </a:pPr>
            <a:r>
              <a:rPr kumimoji="0" lang="fr-FR" sz="1400" b="1" i="0" u="none" strike="noStrike" kern="0" cap="none" spc="0" normalizeH="0" baseline="0" noProof="0">
                <a:ln>
                  <a:noFill/>
                </a:ln>
                <a:solidFill>
                  <a:srgbClr val="0C419A"/>
                </a:solidFill>
                <a:effectLst/>
                <a:uLnTx/>
                <a:uFillTx/>
                <a:latin typeface="Arial" panose="020B0604020202020204"/>
                <a:ea typeface="Geneva" charset="-128"/>
                <a:cs typeface="+mn-cs"/>
              </a:rPr>
              <a:t>Des logiciels métiers compatibles</a:t>
            </a:r>
            <a:r>
              <a:rPr kumimoji="0" lang="fr-FR" sz="1400" b="1" i="0" u="none" strike="noStrike" kern="0" cap="none" spc="0" normalizeH="0" baseline="0" noProof="0">
                <a:ln>
                  <a:noFill/>
                </a:ln>
                <a:solidFill>
                  <a:srgbClr val="545859"/>
                </a:solidFill>
                <a:effectLst/>
                <a:uLnTx/>
                <a:uFillTx/>
                <a:latin typeface="Arial" panose="020B0604020202020204"/>
                <a:ea typeface="Geneva" charset="-128"/>
                <a:cs typeface="+mn-cs"/>
              </a:rPr>
              <a:t> pour les professionnels et établissements de santé</a:t>
            </a:r>
            <a:r>
              <a:rPr kumimoji="0" lang="fr-FR" sz="1400" b="0" i="0" u="none" strike="noStrike" kern="0" cap="none" spc="0" normalizeH="0" baseline="0" noProof="0">
                <a:ln>
                  <a:noFill/>
                </a:ln>
                <a:solidFill>
                  <a:srgbClr val="545859"/>
                </a:solidFill>
                <a:effectLst/>
                <a:uLnTx/>
                <a:uFillTx/>
                <a:latin typeface="Arial" panose="020B0604020202020204"/>
                <a:ea typeface="Geneva" charset="-128"/>
                <a:cs typeface="+mn-cs"/>
              </a:rPr>
              <a:t> </a:t>
            </a:r>
            <a:r>
              <a:rPr kumimoji="0" lang="fr-FR" sz="1400" b="1" i="0" u="none" strike="noStrike" kern="0" cap="none" spc="0" normalizeH="0" baseline="0" noProof="0">
                <a:ln>
                  <a:noFill/>
                </a:ln>
                <a:solidFill>
                  <a:srgbClr val="545859"/>
                </a:solidFill>
                <a:effectLst/>
                <a:uLnTx/>
                <a:uFillTx/>
                <a:latin typeface="Arial" panose="020B0604020202020204"/>
                <a:ea typeface="Geneva" charset="-128"/>
                <a:cs typeface="+mn-cs"/>
              </a:rPr>
              <a:t>qui permettent des échanges simples et sécurisés. </a:t>
            </a:r>
          </a:p>
        </p:txBody>
      </p:sp>
      <p:sp>
        <p:nvSpPr>
          <p:cNvPr id="17" name="Rectangle 16">
            <a:extLst>
              <a:ext uri="{FF2B5EF4-FFF2-40B4-BE49-F238E27FC236}">
                <a16:creationId xmlns:a16="http://schemas.microsoft.com/office/drawing/2014/main" id="{5656E092-49D7-4356-883A-8F6B37585BC7}"/>
              </a:ext>
            </a:extLst>
          </p:cNvPr>
          <p:cNvSpPr/>
          <p:nvPr/>
        </p:nvSpPr>
        <p:spPr>
          <a:xfrm>
            <a:off x="1318583" y="5095527"/>
            <a:ext cx="6643866" cy="784029"/>
          </a:xfrm>
          <a:prstGeom prst="rect">
            <a:avLst/>
          </a:prstGeom>
          <a:noFill/>
          <a:ln w="6350" cap="sq" cmpd="sng" algn="ctr">
            <a:noFill/>
            <a:prstDash val="solid"/>
            <a:miter lim="800000"/>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l" defTabSz="1219170" rtl="0" eaLnBrk="1" fontAlgn="auto" latinLnBrk="0" hangingPunct="1">
              <a:lnSpc>
                <a:spcPct val="100000"/>
              </a:lnSpc>
              <a:spcBef>
                <a:spcPts val="400"/>
              </a:spcBef>
              <a:spcAft>
                <a:spcPts val="400"/>
              </a:spcAft>
              <a:buClrTx/>
              <a:buSzTx/>
              <a:buFontTx/>
              <a:buNone/>
              <a:tabLst/>
              <a:defRPr/>
            </a:pPr>
            <a:r>
              <a:rPr kumimoji="0" lang="fr-FR" sz="1400" b="1" i="0" u="none" strike="noStrike" kern="0" cap="none" spc="0" normalizeH="0" baseline="0" noProof="0">
                <a:ln>
                  <a:noFill/>
                </a:ln>
                <a:solidFill>
                  <a:srgbClr val="0C419A"/>
                </a:solidFill>
                <a:effectLst/>
                <a:uLnTx/>
                <a:uFillTx/>
                <a:latin typeface="Arial" panose="020B0604020202020204"/>
                <a:ea typeface="Geneva" charset="-128"/>
                <a:cs typeface="+mn-cs"/>
              </a:rPr>
              <a:t>Des obligations réglementaires </a:t>
            </a:r>
            <a:r>
              <a:rPr lang="fr-FR" sz="1400" b="1" kern="0">
                <a:solidFill>
                  <a:srgbClr val="545859"/>
                </a:solidFill>
                <a:latin typeface="Arial" panose="020B0604020202020204"/>
                <a:ea typeface="Geneva" charset="-128"/>
              </a:rPr>
              <a:t>qui entreront progressivement en vigueur, tant pour les industriels que pour les professionnels de santé</a:t>
            </a:r>
            <a:endParaRPr kumimoji="0" lang="fr-FR" sz="1400" b="1" i="0" u="none" strike="noStrike" kern="0" cap="none" spc="0" normalizeH="0" baseline="0" noProof="0">
              <a:ln>
                <a:noFill/>
              </a:ln>
              <a:solidFill>
                <a:srgbClr val="545859"/>
              </a:solidFill>
              <a:effectLst/>
              <a:uLnTx/>
              <a:uFillTx/>
              <a:latin typeface="Arial" panose="020B0604020202020204"/>
              <a:ea typeface="Geneva" charset="-128"/>
              <a:cs typeface="+mn-cs"/>
            </a:endParaRPr>
          </a:p>
        </p:txBody>
      </p:sp>
      <p:sp>
        <p:nvSpPr>
          <p:cNvPr id="18" name="Triangle isocèle 17">
            <a:extLst>
              <a:ext uri="{FF2B5EF4-FFF2-40B4-BE49-F238E27FC236}">
                <a16:creationId xmlns:a16="http://schemas.microsoft.com/office/drawing/2014/main" id="{35FC0956-D29F-4DC8-8CDA-3B995F71EB04}"/>
              </a:ext>
            </a:extLst>
          </p:cNvPr>
          <p:cNvSpPr/>
          <p:nvPr/>
        </p:nvSpPr>
        <p:spPr>
          <a:xfrm rot="5400000">
            <a:off x="7897561" y="5210035"/>
            <a:ext cx="522515" cy="326413"/>
          </a:xfrm>
          <a:prstGeom prst="triangle">
            <a:avLst/>
          </a:prstGeom>
          <a:solidFill>
            <a:srgbClr val="E73083"/>
          </a:solidFill>
          <a:ln w="12700" cap="flat" cmpd="sng" algn="ctr">
            <a:noFill/>
            <a:prstDash val="solid"/>
            <a:miter lim="800000"/>
          </a:ln>
          <a:effectLst/>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fr-FR" sz="1333" b="0" i="0" u="none" strike="noStrike" kern="0" cap="none" spc="0" normalizeH="0" baseline="0" noProof="0">
              <a:ln>
                <a:noFill/>
              </a:ln>
              <a:solidFill>
                <a:srgbClr val="E73083"/>
              </a:solidFill>
              <a:effectLst/>
              <a:uLnTx/>
              <a:uFillTx/>
              <a:latin typeface="Arial" panose="020B0604020202020204"/>
              <a:ea typeface="Geneva" charset="-128"/>
              <a:cs typeface="+mn-cs"/>
            </a:endParaRPr>
          </a:p>
        </p:txBody>
      </p:sp>
      <p:sp>
        <p:nvSpPr>
          <p:cNvPr id="19" name="ZoneTexte 18">
            <a:extLst>
              <a:ext uri="{FF2B5EF4-FFF2-40B4-BE49-F238E27FC236}">
                <a16:creationId xmlns:a16="http://schemas.microsoft.com/office/drawing/2014/main" id="{BC541251-1FCB-41E1-9CC4-CA62A3EE29D0}"/>
              </a:ext>
            </a:extLst>
          </p:cNvPr>
          <p:cNvSpPr txBox="1"/>
          <p:nvPr/>
        </p:nvSpPr>
        <p:spPr>
          <a:xfrm>
            <a:off x="8528926" y="5019394"/>
            <a:ext cx="2630612" cy="707694"/>
          </a:xfrm>
          <a:prstGeom prst="rect">
            <a:avLst/>
          </a:prstGeom>
          <a:noFill/>
        </p:spPr>
        <p:txBody>
          <a:bodyPr wrap="square" rtlCol="0" anchor="ctr">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fr-FR" sz="1333" b="0" i="0" u="none" strike="noStrike" kern="0" cap="none" spc="0" normalizeH="0" baseline="0" noProof="0">
                <a:ln>
                  <a:noFill/>
                </a:ln>
                <a:solidFill>
                  <a:srgbClr val="E73083"/>
                </a:solidFill>
                <a:effectLst/>
                <a:uLnTx/>
                <a:uFillTx/>
                <a:latin typeface="Arial" panose="020B0604020202020204" pitchFamily="34" charset="0"/>
                <a:ea typeface="Geneva" charset="-128"/>
                <a:cs typeface="+mn-cs"/>
              </a:rPr>
              <a:t>Arrêté</a:t>
            </a:r>
            <a:r>
              <a:rPr kumimoji="0" lang="fr-FR" sz="1333" b="0" i="0" u="none" strike="noStrike" kern="0" cap="none" spc="0" normalizeH="0" noProof="0">
                <a:ln>
                  <a:noFill/>
                </a:ln>
                <a:solidFill>
                  <a:srgbClr val="E73083"/>
                </a:solidFill>
                <a:effectLst/>
                <a:uLnTx/>
                <a:uFillTx/>
                <a:latin typeface="Arial" panose="020B0604020202020204" pitchFamily="34" charset="0"/>
                <a:ea typeface="Geneva" charset="-128"/>
                <a:cs typeface="+mn-cs"/>
              </a:rPr>
              <a:t> pris en application de </a:t>
            </a:r>
            <a:r>
              <a:rPr kumimoji="0" lang="fr-FR" sz="1333" b="1" i="0" u="none" strike="noStrike" kern="0" cap="none" spc="0" normalizeH="0" noProof="0">
                <a:ln>
                  <a:noFill/>
                </a:ln>
                <a:solidFill>
                  <a:srgbClr val="E73083"/>
                </a:solidFill>
                <a:effectLst/>
                <a:uLnTx/>
                <a:uFillTx/>
                <a:latin typeface="Arial" panose="020B0604020202020204" pitchFamily="34" charset="0"/>
                <a:ea typeface="Geneva" charset="-128"/>
                <a:cs typeface="+mn-cs"/>
              </a:rPr>
              <a:t>l’article L.1111-15 du code de la santé publique</a:t>
            </a:r>
            <a:endParaRPr kumimoji="0" lang="fr-FR" sz="1333" b="1" i="0" u="none" strike="noStrike" kern="0" cap="none" spc="0" normalizeH="0" baseline="0" noProof="0">
              <a:ln>
                <a:noFill/>
              </a:ln>
              <a:solidFill>
                <a:srgbClr val="E73083"/>
              </a:solidFill>
              <a:effectLst/>
              <a:uLnTx/>
              <a:uFillTx/>
              <a:latin typeface="Arial" panose="020B0604020202020204" pitchFamily="34" charset="0"/>
              <a:ea typeface="Geneva" charset="-128"/>
              <a:cs typeface="+mn-cs"/>
            </a:endParaRPr>
          </a:p>
        </p:txBody>
      </p:sp>
      <p:pic>
        <p:nvPicPr>
          <p:cNvPr id="20" name="Image 19"/>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490661" y="5159057"/>
            <a:ext cx="656969" cy="656969"/>
          </a:xfrm>
          <a:prstGeom prst="rect">
            <a:avLst/>
          </a:prstGeom>
        </p:spPr>
      </p:pic>
      <p:pic>
        <p:nvPicPr>
          <p:cNvPr id="22" name="Picture 12" descr="Logo&#10;&#10;Description automatically generated">
            <a:extLst>
              <a:ext uri="{FF2B5EF4-FFF2-40B4-BE49-F238E27FC236}">
                <a16:creationId xmlns:a16="http://schemas.microsoft.com/office/drawing/2014/main" id="{9337ECD4-EF7E-EF56-5E8E-E8088A0BD5A2}"/>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276335" y="3860388"/>
            <a:ext cx="721259" cy="721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4" name="Connecteur droit avec flèche 23"/>
          <p:cNvCxnSpPr/>
          <p:nvPr/>
        </p:nvCxnSpPr>
        <p:spPr>
          <a:xfrm>
            <a:off x="11159538" y="2991894"/>
            <a:ext cx="0" cy="2535927"/>
          </a:xfrm>
          <a:prstGeom prst="straightConnector1">
            <a:avLst/>
          </a:prstGeom>
          <a:ln w="5715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761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147304" y="6035040"/>
            <a:ext cx="4044696" cy="7315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
          <p:cNvSpPr>
            <a:spLocks noGrp="1"/>
          </p:cNvSpPr>
          <p:nvPr>
            <p:ph type="body" sz="quarter" idx="10"/>
          </p:nvPr>
        </p:nvSpPr>
        <p:spPr>
          <a:xfrm>
            <a:off x="3944586" y="564667"/>
            <a:ext cx="7120578" cy="576209"/>
          </a:xfrm>
        </p:spPr>
        <p:txBody>
          <a:bodyPr>
            <a:noAutofit/>
          </a:bodyPr>
          <a:lstStyle/>
          <a:p>
            <a:r>
              <a:rPr lang="fr-FR" sz="1800"/>
              <a:t>Une dynamique collective qui évolue de manière significative  </a:t>
            </a:r>
          </a:p>
        </p:txBody>
      </p:sp>
      <p:sp>
        <p:nvSpPr>
          <p:cNvPr id="6" name="Rectangle 5">
            <a:extLst>
              <a:ext uri="{FF2B5EF4-FFF2-40B4-BE49-F238E27FC236}">
                <a16:creationId xmlns:a16="http://schemas.microsoft.com/office/drawing/2014/main" id="{1C8FA9E7-3F87-4A54-BD15-6ADCFDA3F6B8}"/>
              </a:ext>
            </a:extLst>
          </p:cNvPr>
          <p:cNvSpPr>
            <a:spLocks/>
          </p:cNvSpPr>
          <p:nvPr/>
        </p:nvSpPr>
        <p:spPr>
          <a:xfrm>
            <a:off x="8953650" y="1309918"/>
            <a:ext cx="2976099" cy="4811352"/>
          </a:xfrm>
          <a:prstGeom prst="rect">
            <a:avLst/>
          </a:prstGeom>
          <a:solidFill>
            <a:srgbClr val="D4E0F4">
              <a:alpha val="20000"/>
            </a:srgbClr>
          </a:solidFill>
          <a:ln>
            <a:solidFill>
              <a:srgbClr val="005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7" name="Chart 6">
            <a:extLst>
              <a:ext uri="{FF2B5EF4-FFF2-40B4-BE49-F238E27FC236}">
                <a16:creationId xmlns:a16="http://schemas.microsoft.com/office/drawing/2014/main" id="{D3952AA5-6EB8-48FD-B228-45216FA17B68}"/>
              </a:ext>
            </a:extLst>
          </p:cNvPr>
          <p:cNvGraphicFramePr>
            <a:graphicFrameLocks/>
          </p:cNvGraphicFramePr>
          <p:nvPr>
            <p:custDataLst>
              <p:tags r:id="rId1"/>
            </p:custDataLst>
          </p:nvPr>
        </p:nvGraphicFramePr>
        <p:xfrm>
          <a:off x="464358" y="1132077"/>
          <a:ext cx="8431466" cy="3298859"/>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153">
            <a:extLst>
              <a:ext uri="{FF2B5EF4-FFF2-40B4-BE49-F238E27FC236}">
                <a16:creationId xmlns:a16="http://schemas.microsoft.com/office/drawing/2014/main" id="{ACC9BCBF-6529-4AE3-A0F4-622384537764}"/>
              </a:ext>
            </a:extLst>
          </p:cNvPr>
          <p:cNvSpPr txBox="1">
            <a:spLocks noChangeAspect="1"/>
          </p:cNvSpPr>
          <p:nvPr/>
        </p:nvSpPr>
        <p:spPr>
          <a:xfrm>
            <a:off x="9020180" y="1395895"/>
            <a:ext cx="2843038" cy="430887"/>
          </a:xfrm>
          <a:prstGeom prst="rect">
            <a:avLst/>
          </a:prstGeom>
          <a:solidFill>
            <a:srgbClr val="4472C4"/>
          </a:solidFill>
        </p:spPr>
        <p:txBody>
          <a:bodyPr wrap="square">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fr-FR" sz="1100" b="1" i="0" u="none" strike="noStrike" kern="1200" cap="none" spc="0" normalizeH="0" baseline="0" noProof="0">
                <a:ln>
                  <a:noFill/>
                </a:ln>
                <a:solidFill>
                  <a:prstClr val="white"/>
                </a:solidFill>
                <a:effectLst/>
                <a:uLnTx/>
                <a:uFillTx/>
                <a:latin typeface="Arial" panose="020B0604020202020204"/>
                <a:ea typeface="+mn-ea"/>
                <a:cs typeface="Arial"/>
                <a:sym typeface="Arial"/>
              </a:rPr>
              <a:t>Nombre de documents envoyés </a:t>
            </a:r>
          </a:p>
          <a:p>
            <a:pPr marL="0" marR="0" lvl="0" indent="0" algn="ctr" defTabSz="685800" rtl="0" eaLnBrk="1" fontAlgn="auto" latinLnBrk="0" hangingPunct="1">
              <a:lnSpc>
                <a:spcPct val="100000"/>
              </a:lnSpc>
              <a:spcBef>
                <a:spcPts val="0"/>
              </a:spcBef>
              <a:spcAft>
                <a:spcPts val="0"/>
              </a:spcAft>
              <a:buClrTx/>
              <a:buSzTx/>
              <a:buFont typeface="Arial"/>
              <a:buNone/>
              <a:tabLst/>
              <a:defRPr/>
            </a:pPr>
            <a:r>
              <a:rPr kumimoji="0" lang="fr-FR" sz="1100" b="1" i="1" u="none" strike="noStrike" kern="1200" cap="none" spc="0" normalizeH="0" baseline="0" noProof="0">
                <a:ln>
                  <a:noFill/>
                </a:ln>
                <a:solidFill>
                  <a:prstClr val="white"/>
                </a:solidFill>
                <a:effectLst/>
                <a:uLnTx/>
                <a:uFillTx/>
                <a:latin typeface="Arial" panose="020B0604020202020204"/>
                <a:ea typeface="+mn-ea"/>
                <a:cs typeface="Arial"/>
                <a:sym typeface="Arial"/>
              </a:rPr>
              <a:t>(hors alimentations SI-DEP)</a:t>
            </a:r>
            <a:endParaRPr kumimoji="0" lang="fr-FR" sz="1100" b="0" i="1" u="none" strike="noStrike" kern="1200" cap="none" spc="0" normalizeH="0" baseline="0" noProof="0">
              <a:ln>
                <a:noFill/>
              </a:ln>
              <a:solidFill>
                <a:prstClr val="white"/>
              </a:solidFill>
              <a:effectLst/>
              <a:uLnTx/>
              <a:uFillTx/>
              <a:latin typeface="Arial" panose="020B0604020202020204"/>
              <a:ea typeface="+mn-ea"/>
              <a:cs typeface="Arial"/>
              <a:sym typeface="Arial"/>
            </a:endParaRPr>
          </a:p>
        </p:txBody>
      </p:sp>
      <p:grpSp>
        <p:nvGrpSpPr>
          <p:cNvPr id="58" name="Group 57">
            <a:extLst>
              <a:ext uri="{FF2B5EF4-FFF2-40B4-BE49-F238E27FC236}">
                <a16:creationId xmlns:a16="http://schemas.microsoft.com/office/drawing/2014/main" id="{C28C4497-9AEE-412D-AE75-96A27D5150FB}"/>
              </a:ext>
            </a:extLst>
          </p:cNvPr>
          <p:cNvGrpSpPr/>
          <p:nvPr/>
        </p:nvGrpSpPr>
        <p:grpSpPr>
          <a:xfrm>
            <a:off x="1228039" y="4374182"/>
            <a:ext cx="1531025" cy="464442"/>
            <a:chOff x="1228039" y="4374182"/>
            <a:chExt cx="1531025" cy="464442"/>
          </a:xfrm>
        </p:grpSpPr>
        <p:pic>
          <p:nvPicPr>
            <p:cNvPr id="10" name="Graphic 48" descr="Hospital outline">
              <a:extLst>
                <a:ext uri="{FF2B5EF4-FFF2-40B4-BE49-F238E27FC236}">
                  <a16:creationId xmlns:a16="http://schemas.microsoft.com/office/drawing/2014/main" id="{A0272A67-3F7F-4435-88A5-9DD74949CDA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79034" y="4374182"/>
              <a:ext cx="471488" cy="464442"/>
            </a:xfrm>
            <a:prstGeom prst="rect">
              <a:avLst/>
            </a:prstGeom>
          </p:spPr>
        </p:pic>
        <p:sp>
          <p:nvSpPr>
            <p:cNvPr id="11" name="Oval 46">
              <a:extLst>
                <a:ext uri="{FF2B5EF4-FFF2-40B4-BE49-F238E27FC236}">
                  <a16:creationId xmlns:a16="http://schemas.microsoft.com/office/drawing/2014/main" id="{104D7741-2C4E-4C47-AEFF-AFFDE9055C82}"/>
                </a:ext>
              </a:extLst>
            </p:cNvPr>
            <p:cNvSpPr>
              <a:spLocks noChangeAspect="1"/>
            </p:cNvSpPr>
            <p:nvPr/>
          </p:nvSpPr>
          <p:spPr>
            <a:xfrm>
              <a:off x="1228039" y="4459407"/>
              <a:ext cx="342281" cy="366680"/>
            </a:xfrm>
            <a:prstGeom prst="ellipse">
              <a:avLst/>
            </a:prstGeom>
            <a:solidFill>
              <a:srgbClr val="0062AE">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TextBox 47">
              <a:extLst>
                <a:ext uri="{FF2B5EF4-FFF2-40B4-BE49-F238E27FC236}">
                  <a16:creationId xmlns:a16="http://schemas.microsoft.com/office/drawing/2014/main" id="{046E910E-0218-4882-9CE6-C4B7459B041E}"/>
                </a:ext>
              </a:extLst>
            </p:cNvPr>
            <p:cNvSpPr txBox="1">
              <a:spLocks noChangeAspect="1"/>
            </p:cNvSpPr>
            <p:nvPr/>
          </p:nvSpPr>
          <p:spPr>
            <a:xfrm>
              <a:off x="1680983" y="4473470"/>
              <a:ext cx="1078081" cy="338554"/>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0062AE"/>
                  </a:solidFill>
                  <a:effectLst/>
                  <a:uLnTx/>
                  <a:uFillTx/>
                  <a:latin typeface="Arial" panose="020B0604020202020204"/>
                  <a:ea typeface="+mn-ea"/>
                  <a:cs typeface="+mn-cs"/>
                </a:rPr>
                <a:t>Etablissements sanitaires</a:t>
              </a:r>
            </a:p>
          </p:txBody>
        </p:sp>
      </p:grpSp>
      <p:grpSp>
        <p:nvGrpSpPr>
          <p:cNvPr id="59" name="Group 58">
            <a:extLst>
              <a:ext uri="{FF2B5EF4-FFF2-40B4-BE49-F238E27FC236}">
                <a16:creationId xmlns:a16="http://schemas.microsoft.com/office/drawing/2014/main" id="{746108BD-14D2-49C7-B45D-62FF00A5A9EB}"/>
              </a:ext>
            </a:extLst>
          </p:cNvPr>
          <p:cNvGrpSpPr/>
          <p:nvPr/>
        </p:nvGrpSpPr>
        <p:grpSpPr>
          <a:xfrm>
            <a:off x="2838889" y="4376875"/>
            <a:ext cx="1528513" cy="451597"/>
            <a:chOff x="2838889" y="4376875"/>
            <a:chExt cx="1528513" cy="451597"/>
          </a:xfrm>
        </p:grpSpPr>
        <p:pic>
          <p:nvPicPr>
            <p:cNvPr id="14" name="Graphic 53" descr="Stethoscope outline">
              <a:extLst>
                <a:ext uri="{FF2B5EF4-FFF2-40B4-BE49-F238E27FC236}">
                  <a16:creationId xmlns:a16="http://schemas.microsoft.com/office/drawing/2014/main" id="{159A49EF-E101-400A-8244-D0C70F16B27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935936" y="4376875"/>
              <a:ext cx="453476" cy="451597"/>
            </a:xfrm>
            <a:prstGeom prst="rect">
              <a:avLst/>
            </a:prstGeom>
          </p:spPr>
        </p:pic>
        <p:sp>
          <p:nvSpPr>
            <p:cNvPr id="15" name="Oval 50">
              <a:extLst>
                <a:ext uri="{FF2B5EF4-FFF2-40B4-BE49-F238E27FC236}">
                  <a16:creationId xmlns:a16="http://schemas.microsoft.com/office/drawing/2014/main" id="{6ED2F34D-29FB-4C7F-AAD4-99607C8D0407}"/>
                </a:ext>
              </a:extLst>
            </p:cNvPr>
            <p:cNvSpPr>
              <a:spLocks noChangeAspect="1"/>
            </p:cNvSpPr>
            <p:nvPr/>
          </p:nvSpPr>
          <p:spPr>
            <a:xfrm>
              <a:off x="2838889" y="4468464"/>
              <a:ext cx="341974" cy="348567"/>
            </a:xfrm>
            <a:prstGeom prst="ellipse">
              <a:avLst/>
            </a:prstGeom>
            <a:solidFill>
              <a:srgbClr val="00A4C6">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TextBox 52">
              <a:extLst>
                <a:ext uri="{FF2B5EF4-FFF2-40B4-BE49-F238E27FC236}">
                  <a16:creationId xmlns:a16="http://schemas.microsoft.com/office/drawing/2014/main" id="{5E739CE7-F287-48CD-A48A-95C92D5A747A}"/>
                </a:ext>
              </a:extLst>
            </p:cNvPr>
            <p:cNvSpPr txBox="1"/>
            <p:nvPr/>
          </p:nvSpPr>
          <p:spPr>
            <a:xfrm>
              <a:off x="3286234" y="4473470"/>
              <a:ext cx="1081168" cy="338554"/>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00A4C6"/>
                  </a:solidFill>
                  <a:effectLst/>
                  <a:uLnTx/>
                  <a:uFillTx/>
                  <a:latin typeface="Arial" panose="020B0604020202020204"/>
                  <a:ea typeface="+mn-ea"/>
                  <a:cs typeface="+mn-cs"/>
                </a:rPr>
                <a:t>Professionnels d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00A4C6"/>
                  </a:solidFill>
                  <a:effectLst/>
                  <a:uLnTx/>
                  <a:uFillTx/>
                  <a:latin typeface="Arial" panose="020B0604020202020204"/>
                  <a:ea typeface="+mn-ea"/>
                  <a:cs typeface="+mn-cs"/>
                </a:rPr>
                <a:t>santé libéraux</a:t>
              </a:r>
            </a:p>
          </p:txBody>
        </p:sp>
      </p:grpSp>
      <p:grpSp>
        <p:nvGrpSpPr>
          <p:cNvPr id="60" name="Group 59">
            <a:extLst>
              <a:ext uri="{FF2B5EF4-FFF2-40B4-BE49-F238E27FC236}">
                <a16:creationId xmlns:a16="http://schemas.microsoft.com/office/drawing/2014/main" id="{ECEA697D-F81F-427D-BB37-264F5B52B12F}"/>
              </a:ext>
            </a:extLst>
          </p:cNvPr>
          <p:cNvGrpSpPr/>
          <p:nvPr/>
        </p:nvGrpSpPr>
        <p:grpSpPr>
          <a:xfrm>
            <a:off x="4447227" y="4390245"/>
            <a:ext cx="1487976" cy="422891"/>
            <a:chOff x="4447227" y="4390245"/>
            <a:chExt cx="1487976" cy="422891"/>
          </a:xfrm>
        </p:grpSpPr>
        <p:pic>
          <p:nvPicPr>
            <p:cNvPr id="18" name="Graphic 58" descr="Needle outline">
              <a:extLst>
                <a:ext uri="{FF2B5EF4-FFF2-40B4-BE49-F238E27FC236}">
                  <a16:creationId xmlns:a16="http://schemas.microsoft.com/office/drawing/2014/main" id="{DB38FD1E-1D21-4E80-B6FE-36969B031DA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18221" y="4390245"/>
              <a:ext cx="405752" cy="386630"/>
            </a:xfrm>
            <a:prstGeom prst="rect">
              <a:avLst/>
            </a:prstGeom>
          </p:spPr>
        </p:pic>
        <p:sp>
          <p:nvSpPr>
            <p:cNvPr id="19" name="Oval 54">
              <a:extLst>
                <a:ext uri="{FF2B5EF4-FFF2-40B4-BE49-F238E27FC236}">
                  <a16:creationId xmlns:a16="http://schemas.microsoft.com/office/drawing/2014/main" id="{E167E4BA-85EC-431B-9E87-1E5FAC209B7E}"/>
                </a:ext>
              </a:extLst>
            </p:cNvPr>
            <p:cNvSpPr>
              <a:spLocks noChangeAspect="1"/>
            </p:cNvSpPr>
            <p:nvPr/>
          </p:nvSpPr>
          <p:spPr>
            <a:xfrm>
              <a:off x="4447227" y="4472359"/>
              <a:ext cx="363883" cy="340777"/>
            </a:xfrm>
            <a:prstGeom prst="ellipse">
              <a:avLst/>
            </a:prstGeom>
            <a:solidFill>
              <a:srgbClr val="2AB3A6">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TextBox 57">
              <a:extLst>
                <a:ext uri="{FF2B5EF4-FFF2-40B4-BE49-F238E27FC236}">
                  <a16:creationId xmlns:a16="http://schemas.microsoft.com/office/drawing/2014/main" id="{9F0D8396-5B43-4EF6-B87B-03E73A994983}"/>
                </a:ext>
              </a:extLst>
            </p:cNvPr>
            <p:cNvSpPr txBox="1"/>
            <p:nvPr/>
          </p:nvSpPr>
          <p:spPr>
            <a:xfrm>
              <a:off x="4859143" y="4473470"/>
              <a:ext cx="1076060" cy="338554"/>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2AB3A6"/>
                  </a:solidFill>
                  <a:effectLst/>
                  <a:uLnTx/>
                  <a:uFillTx/>
                  <a:latin typeface="Arial" panose="020B0604020202020204"/>
                  <a:ea typeface="+mn-ea"/>
                  <a:cs typeface="+mn-cs"/>
                </a:rPr>
                <a:t>Laboratoires d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2AB3A6"/>
                  </a:solidFill>
                  <a:effectLst/>
                  <a:uLnTx/>
                  <a:uFillTx/>
                  <a:latin typeface="Arial" panose="020B0604020202020204"/>
                  <a:ea typeface="+mn-ea"/>
                  <a:cs typeface="+mn-cs"/>
                </a:rPr>
                <a:t>biologie médicale</a:t>
              </a:r>
            </a:p>
          </p:txBody>
        </p:sp>
      </p:grpSp>
      <p:grpSp>
        <p:nvGrpSpPr>
          <p:cNvPr id="61" name="Group 60">
            <a:extLst>
              <a:ext uri="{FF2B5EF4-FFF2-40B4-BE49-F238E27FC236}">
                <a16:creationId xmlns:a16="http://schemas.microsoft.com/office/drawing/2014/main" id="{F3AE4DAA-E62E-4B7A-BFCC-F18E31A4996E}"/>
              </a:ext>
            </a:extLst>
          </p:cNvPr>
          <p:cNvGrpSpPr/>
          <p:nvPr/>
        </p:nvGrpSpPr>
        <p:grpSpPr>
          <a:xfrm>
            <a:off x="6015028" y="4437246"/>
            <a:ext cx="1845279" cy="377659"/>
            <a:chOff x="6015028" y="4437246"/>
            <a:chExt cx="1845279" cy="377659"/>
          </a:xfrm>
        </p:grpSpPr>
        <p:pic>
          <p:nvPicPr>
            <p:cNvPr id="22" name="Graphic 57" descr="Open hand outline">
              <a:extLst>
                <a:ext uri="{FF2B5EF4-FFF2-40B4-BE49-F238E27FC236}">
                  <a16:creationId xmlns:a16="http://schemas.microsoft.com/office/drawing/2014/main" id="{A9966FAD-5953-41A5-98FC-7270272FF72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60451" y="4437246"/>
              <a:ext cx="348357" cy="340059"/>
            </a:xfrm>
            <a:prstGeom prst="rect">
              <a:avLst/>
            </a:prstGeom>
          </p:spPr>
        </p:pic>
        <p:sp>
          <p:nvSpPr>
            <p:cNvPr id="23" name="Oval 58">
              <a:extLst>
                <a:ext uri="{FF2B5EF4-FFF2-40B4-BE49-F238E27FC236}">
                  <a16:creationId xmlns:a16="http://schemas.microsoft.com/office/drawing/2014/main" id="{99BB0ADD-4E47-4FA1-B70C-B33D7A337D13}"/>
                </a:ext>
              </a:extLst>
            </p:cNvPr>
            <p:cNvSpPr>
              <a:spLocks noChangeAspect="1"/>
            </p:cNvSpPr>
            <p:nvPr/>
          </p:nvSpPr>
          <p:spPr>
            <a:xfrm>
              <a:off x="6015028" y="4470589"/>
              <a:ext cx="344691" cy="344316"/>
            </a:xfrm>
            <a:prstGeom prst="ellipse">
              <a:avLst/>
            </a:prstGeom>
            <a:solidFill>
              <a:srgbClr val="00B050">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TextBox 62">
              <a:extLst>
                <a:ext uri="{FF2B5EF4-FFF2-40B4-BE49-F238E27FC236}">
                  <a16:creationId xmlns:a16="http://schemas.microsoft.com/office/drawing/2014/main" id="{9018AE5A-84F3-4B24-B849-24A7D9FE89B5}"/>
                </a:ext>
              </a:extLst>
            </p:cNvPr>
            <p:cNvSpPr txBox="1"/>
            <p:nvPr/>
          </p:nvSpPr>
          <p:spPr>
            <a:xfrm>
              <a:off x="6440122" y="4473470"/>
              <a:ext cx="1420185" cy="338554"/>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a:ln>
                    <a:noFill/>
                  </a:ln>
                  <a:solidFill>
                    <a:srgbClr val="00B050"/>
                  </a:solidFill>
                  <a:effectLst/>
                  <a:uLnTx/>
                  <a:uFillTx/>
                  <a:latin typeface="Arial" panose="020B0604020202020204"/>
                  <a:ea typeface="+mn-ea"/>
                  <a:cs typeface="+mn-cs"/>
                </a:rPr>
                <a:t>Établissements et services médico-sociaux</a:t>
              </a:r>
            </a:p>
          </p:txBody>
        </p:sp>
      </p:grpSp>
      <p:sp>
        <p:nvSpPr>
          <p:cNvPr id="37" name="TextBox 36">
            <a:extLst>
              <a:ext uri="{FF2B5EF4-FFF2-40B4-BE49-F238E27FC236}">
                <a16:creationId xmlns:a16="http://schemas.microsoft.com/office/drawing/2014/main" id="{07B54A7E-59EE-420E-9A81-62221F74151A}"/>
              </a:ext>
            </a:extLst>
          </p:cNvPr>
          <p:cNvSpPr txBox="1">
            <a:spLocks noChangeAspect="1"/>
          </p:cNvSpPr>
          <p:nvPr/>
        </p:nvSpPr>
        <p:spPr>
          <a:xfrm>
            <a:off x="10066831" y="1802842"/>
            <a:ext cx="749736" cy="230036"/>
          </a:xfrm>
          <a:prstGeom prst="rect">
            <a:avLst/>
          </a:prstGeom>
          <a:noFill/>
        </p:spPr>
        <p:txBody>
          <a:bodyPr wrap="square" lIns="72000" tIns="108000" rIns="72000" bIns="108000" rtlCol="0" anchor="ctr" anchorCtr="0">
            <a:noAutofit/>
          </a:bodyPr>
          <a:lstStyle/>
          <a:p>
            <a:pPr algn="ctr"/>
            <a:endParaRPr lang="fr-FR" sz="600" err="1">
              <a:solidFill>
                <a:srgbClr val="575757"/>
              </a:solidFill>
            </a:endParaRPr>
          </a:p>
        </p:txBody>
      </p:sp>
      <p:grpSp>
        <p:nvGrpSpPr>
          <p:cNvPr id="67" name="Group 66">
            <a:extLst>
              <a:ext uri="{FF2B5EF4-FFF2-40B4-BE49-F238E27FC236}">
                <a16:creationId xmlns:a16="http://schemas.microsoft.com/office/drawing/2014/main" id="{AC19D5A9-6CA2-446F-B347-3DF14F7ADB11}"/>
              </a:ext>
            </a:extLst>
          </p:cNvPr>
          <p:cNvGrpSpPr/>
          <p:nvPr/>
        </p:nvGrpSpPr>
        <p:grpSpPr>
          <a:xfrm>
            <a:off x="9106100" y="1985811"/>
            <a:ext cx="2671201" cy="1028766"/>
            <a:chOff x="9106100" y="1985811"/>
            <a:chExt cx="2671201" cy="1028766"/>
          </a:xfrm>
        </p:grpSpPr>
        <p:grpSp>
          <p:nvGrpSpPr>
            <p:cNvPr id="62" name="Group 61">
              <a:extLst>
                <a:ext uri="{FF2B5EF4-FFF2-40B4-BE49-F238E27FC236}">
                  <a16:creationId xmlns:a16="http://schemas.microsoft.com/office/drawing/2014/main" id="{BD5F8B16-A031-43A0-9E43-04C1B90D3316}"/>
                </a:ext>
              </a:extLst>
            </p:cNvPr>
            <p:cNvGrpSpPr/>
            <p:nvPr/>
          </p:nvGrpSpPr>
          <p:grpSpPr>
            <a:xfrm>
              <a:off x="9527206" y="1985811"/>
              <a:ext cx="1828987" cy="477164"/>
              <a:chOff x="9484451" y="1985811"/>
              <a:chExt cx="1828987" cy="477164"/>
            </a:xfrm>
          </p:grpSpPr>
          <p:pic>
            <p:nvPicPr>
              <p:cNvPr id="26" name="Graphic 48" descr="Hospital outline">
                <a:extLst>
                  <a:ext uri="{FF2B5EF4-FFF2-40B4-BE49-F238E27FC236}">
                    <a16:creationId xmlns:a16="http://schemas.microsoft.com/office/drawing/2014/main" id="{87A32702-DA80-4287-B193-684A9BE9B5E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44228" y="1985811"/>
                <a:ext cx="484402" cy="477164"/>
              </a:xfrm>
              <a:prstGeom prst="rect">
                <a:avLst/>
              </a:prstGeom>
            </p:spPr>
          </p:pic>
          <p:sp>
            <p:nvSpPr>
              <p:cNvPr id="27" name="Oval 46">
                <a:extLst>
                  <a:ext uri="{FF2B5EF4-FFF2-40B4-BE49-F238E27FC236}">
                    <a16:creationId xmlns:a16="http://schemas.microsoft.com/office/drawing/2014/main" id="{AC8D8FDC-09C0-4A98-B913-2E692B540C2F}"/>
                  </a:ext>
                </a:extLst>
              </p:cNvPr>
              <p:cNvSpPr>
                <a:spLocks noChangeAspect="1"/>
              </p:cNvSpPr>
              <p:nvPr/>
            </p:nvSpPr>
            <p:spPr>
              <a:xfrm>
                <a:off x="9484451" y="2086241"/>
                <a:ext cx="351656" cy="376725"/>
              </a:xfrm>
              <a:prstGeom prst="ellipse">
                <a:avLst/>
              </a:prstGeom>
              <a:solidFill>
                <a:srgbClr val="0062AE">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extBox 47">
                <a:extLst>
                  <a:ext uri="{FF2B5EF4-FFF2-40B4-BE49-F238E27FC236}">
                    <a16:creationId xmlns:a16="http://schemas.microsoft.com/office/drawing/2014/main" id="{C260F347-AA87-4B67-B669-8DC30C307E9E}"/>
                  </a:ext>
                </a:extLst>
              </p:cNvPr>
              <p:cNvSpPr txBox="1">
                <a:spLocks noChangeAspect="1"/>
              </p:cNvSpPr>
              <p:nvPr/>
            </p:nvSpPr>
            <p:spPr>
              <a:xfrm>
                <a:off x="9987697" y="2030943"/>
                <a:ext cx="1325741" cy="430887"/>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62AE"/>
                    </a:solidFill>
                    <a:effectLst/>
                    <a:uLnTx/>
                    <a:uFillTx/>
                    <a:latin typeface="Arial" panose="020B0604020202020204"/>
                    <a:ea typeface="+mn-ea"/>
                    <a:cs typeface="+mn-cs"/>
                  </a:rPr>
                  <a:t>Etablissements sanitaires</a:t>
                </a:r>
              </a:p>
            </p:txBody>
          </p:sp>
        </p:grpSp>
        <p:grpSp>
          <p:nvGrpSpPr>
            <p:cNvPr id="38" name="Group 37">
              <a:extLst>
                <a:ext uri="{FF2B5EF4-FFF2-40B4-BE49-F238E27FC236}">
                  <a16:creationId xmlns:a16="http://schemas.microsoft.com/office/drawing/2014/main" id="{12200952-F2FD-4B8E-929B-1930A97AA954}"/>
                </a:ext>
              </a:extLst>
            </p:cNvPr>
            <p:cNvGrpSpPr>
              <a:grpSpLocks noChangeAspect="1"/>
            </p:cNvGrpSpPr>
            <p:nvPr/>
          </p:nvGrpSpPr>
          <p:grpSpPr>
            <a:xfrm>
              <a:off x="9106100" y="2532124"/>
              <a:ext cx="2671201" cy="482453"/>
              <a:chOff x="1606561" y="4155770"/>
              <a:chExt cx="1644074" cy="296941"/>
            </a:xfrm>
          </p:grpSpPr>
          <p:sp>
            <p:nvSpPr>
              <p:cNvPr id="42" name="Footer Placeholder 3">
                <a:extLst>
                  <a:ext uri="{FF2B5EF4-FFF2-40B4-BE49-F238E27FC236}">
                    <a16:creationId xmlns:a16="http://schemas.microsoft.com/office/drawing/2014/main" id="{540AC6DA-A1BB-47D1-A00D-57D15FA39E1F}"/>
                  </a:ext>
                </a:extLst>
              </p:cNvPr>
              <p:cNvSpPr txBox="1">
                <a:spLocks/>
              </p:cNvSpPr>
              <p:nvPr/>
            </p:nvSpPr>
            <p:spPr>
              <a:xfrm>
                <a:off x="1606561"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19 810 384</a:t>
                </a:r>
              </a:p>
              <a:p>
                <a:pPr algn="ctr"/>
                <a:r>
                  <a:rPr lang="fr-FR" sz="1100" i="0">
                    <a:solidFill>
                      <a:srgbClr val="44546A"/>
                    </a:solidFill>
                    <a:latin typeface="Arial"/>
                    <a:ea typeface="+mn-ea"/>
                  </a:rPr>
                  <a:t>Du 01/01/2022 au 31/12/2022</a:t>
                </a:r>
              </a:p>
            </p:txBody>
          </p:sp>
          <p:sp>
            <p:nvSpPr>
              <p:cNvPr id="43" name="Footer Placeholder 3">
                <a:extLst>
                  <a:ext uri="{FF2B5EF4-FFF2-40B4-BE49-F238E27FC236}">
                    <a16:creationId xmlns:a16="http://schemas.microsoft.com/office/drawing/2014/main" id="{C4CC834A-97A3-48A2-A394-0564A1E72697}"/>
                  </a:ext>
                </a:extLst>
              </p:cNvPr>
              <p:cNvSpPr txBox="1">
                <a:spLocks/>
              </p:cNvSpPr>
              <p:nvPr/>
            </p:nvSpPr>
            <p:spPr>
              <a:xfrm>
                <a:off x="2657734"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25 258 077 </a:t>
                </a:r>
              </a:p>
              <a:p>
                <a:pPr algn="ctr"/>
                <a:r>
                  <a:rPr lang="fr-FR" sz="1100" i="0">
                    <a:solidFill>
                      <a:srgbClr val="44546A"/>
                    </a:solidFill>
                    <a:latin typeface="Arial"/>
                    <a:ea typeface="+mn-ea"/>
                  </a:rPr>
                  <a:t>Du 01/03/2022 au 28/02/2023</a:t>
                </a:r>
              </a:p>
            </p:txBody>
          </p:sp>
          <p:cxnSp>
            <p:nvCxnSpPr>
              <p:cNvPr id="44" name="Straight Arrow Connector 43">
                <a:extLst>
                  <a:ext uri="{FF2B5EF4-FFF2-40B4-BE49-F238E27FC236}">
                    <a16:creationId xmlns:a16="http://schemas.microsoft.com/office/drawing/2014/main" id="{D7488957-94ED-4C39-AC9D-CD708C2D64D5}"/>
                  </a:ext>
                </a:extLst>
              </p:cNvPr>
              <p:cNvCxnSpPr>
                <a:cxnSpLocks/>
                <a:stCxn id="42" idx="3"/>
                <a:endCxn id="43" idx="1"/>
              </p:cNvCxnSpPr>
              <p:nvPr/>
            </p:nvCxnSpPr>
            <p:spPr>
              <a:xfrm>
                <a:off x="2199462" y="4315789"/>
                <a:ext cx="45827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5" name="Footer Placeholder 3">
                <a:extLst>
                  <a:ext uri="{FF2B5EF4-FFF2-40B4-BE49-F238E27FC236}">
                    <a16:creationId xmlns:a16="http://schemas.microsoft.com/office/drawing/2014/main" id="{6F71DF9A-B945-4883-962C-C4323979DF0D}"/>
                  </a:ext>
                </a:extLst>
              </p:cNvPr>
              <p:cNvSpPr txBox="1">
                <a:spLocks/>
              </p:cNvSpPr>
              <p:nvPr/>
            </p:nvSpPr>
            <p:spPr>
              <a:xfrm>
                <a:off x="2132147" y="4155770"/>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lnSpc>
                    <a:spcPct val="150000"/>
                  </a:lnSpc>
                </a:pPr>
                <a:r>
                  <a:rPr lang="fr-FR" sz="1200" b="1" i="0">
                    <a:solidFill>
                      <a:srgbClr val="00B050"/>
                    </a:solidFill>
                    <a:latin typeface="Arial"/>
                    <a:ea typeface="+mn-ea"/>
                  </a:rPr>
                  <a:t>+ 27 % </a:t>
                </a:r>
              </a:p>
              <a:p>
                <a:pPr algn="ctr">
                  <a:lnSpc>
                    <a:spcPct val="150000"/>
                  </a:lnSpc>
                </a:pPr>
                <a:r>
                  <a:rPr lang="fr-FR" sz="1100" i="0">
                    <a:solidFill>
                      <a:srgbClr val="00B050"/>
                    </a:solidFill>
                    <a:latin typeface="Arial"/>
                    <a:ea typeface="+mn-ea"/>
                  </a:rPr>
                  <a:t>En 2 mois</a:t>
                </a:r>
              </a:p>
            </p:txBody>
          </p:sp>
        </p:grpSp>
      </p:grpSp>
      <p:grpSp>
        <p:nvGrpSpPr>
          <p:cNvPr id="66" name="Group 65">
            <a:extLst>
              <a:ext uri="{FF2B5EF4-FFF2-40B4-BE49-F238E27FC236}">
                <a16:creationId xmlns:a16="http://schemas.microsoft.com/office/drawing/2014/main" id="{D6AC6638-AAE3-44F4-A960-9D4AFAD96D42}"/>
              </a:ext>
            </a:extLst>
          </p:cNvPr>
          <p:cNvGrpSpPr/>
          <p:nvPr/>
        </p:nvGrpSpPr>
        <p:grpSpPr>
          <a:xfrm>
            <a:off x="9106100" y="3386293"/>
            <a:ext cx="2671201" cy="1047430"/>
            <a:chOff x="9106100" y="3164769"/>
            <a:chExt cx="2671201" cy="1047430"/>
          </a:xfrm>
        </p:grpSpPr>
        <p:grpSp>
          <p:nvGrpSpPr>
            <p:cNvPr id="63" name="Group 62">
              <a:extLst>
                <a:ext uri="{FF2B5EF4-FFF2-40B4-BE49-F238E27FC236}">
                  <a16:creationId xmlns:a16="http://schemas.microsoft.com/office/drawing/2014/main" id="{951271DE-6732-4FFA-809D-A80F6F8BC652}"/>
                </a:ext>
              </a:extLst>
            </p:cNvPr>
            <p:cNvGrpSpPr/>
            <p:nvPr/>
          </p:nvGrpSpPr>
          <p:grpSpPr>
            <a:xfrm>
              <a:off x="9483576" y="3164769"/>
              <a:ext cx="1916247" cy="495946"/>
              <a:chOff x="9498518" y="3164769"/>
              <a:chExt cx="1916247" cy="495946"/>
            </a:xfrm>
          </p:grpSpPr>
          <p:pic>
            <p:nvPicPr>
              <p:cNvPr id="30" name="Graphic 53" descr="Stethoscope outline">
                <a:extLst>
                  <a:ext uri="{FF2B5EF4-FFF2-40B4-BE49-F238E27FC236}">
                    <a16:creationId xmlns:a16="http://schemas.microsoft.com/office/drawing/2014/main" id="{A02884A2-CD2A-4C00-A691-F425D65EE01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71926" y="3164769"/>
                <a:ext cx="429006" cy="427228"/>
              </a:xfrm>
              <a:prstGeom prst="rect">
                <a:avLst/>
              </a:prstGeom>
            </p:spPr>
          </p:pic>
          <p:sp>
            <p:nvSpPr>
              <p:cNvPr id="31" name="Oval 50">
                <a:extLst>
                  <a:ext uri="{FF2B5EF4-FFF2-40B4-BE49-F238E27FC236}">
                    <a16:creationId xmlns:a16="http://schemas.microsoft.com/office/drawing/2014/main" id="{E17EA8B6-9316-4DC0-9D2C-CBE04CF1B180}"/>
                  </a:ext>
                </a:extLst>
              </p:cNvPr>
              <p:cNvSpPr>
                <a:spLocks noChangeAspect="1"/>
              </p:cNvSpPr>
              <p:nvPr/>
            </p:nvSpPr>
            <p:spPr>
              <a:xfrm>
                <a:off x="9498518" y="3269297"/>
                <a:ext cx="323522" cy="329758"/>
              </a:xfrm>
              <a:prstGeom prst="ellipse">
                <a:avLst/>
              </a:prstGeom>
              <a:solidFill>
                <a:srgbClr val="00A4C6">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2" name="TextBox 52">
                <a:extLst>
                  <a:ext uri="{FF2B5EF4-FFF2-40B4-BE49-F238E27FC236}">
                    <a16:creationId xmlns:a16="http://schemas.microsoft.com/office/drawing/2014/main" id="{4298D190-D130-48A4-BCE5-E0F16A2C2911}"/>
                  </a:ext>
                </a:extLst>
              </p:cNvPr>
              <p:cNvSpPr txBox="1"/>
              <p:nvPr/>
            </p:nvSpPr>
            <p:spPr>
              <a:xfrm>
                <a:off x="9987697" y="3229828"/>
                <a:ext cx="1427068" cy="430887"/>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A4C6"/>
                    </a:solidFill>
                    <a:effectLst/>
                    <a:uLnTx/>
                    <a:uFillTx/>
                    <a:latin typeface="Arial" panose="020B0604020202020204"/>
                    <a:ea typeface="+mn-ea"/>
                    <a:cs typeface="+mn-cs"/>
                  </a:rPr>
                  <a:t>Professionnels d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00A4C6"/>
                    </a:solidFill>
                    <a:effectLst/>
                    <a:uLnTx/>
                    <a:uFillTx/>
                    <a:latin typeface="Arial" panose="020B0604020202020204"/>
                    <a:ea typeface="+mn-ea"/>
                    <a:cs typeface="+mn-cs"/>
                  </a:rPr>
                  <a:t>santé libéraux</a:t>
                </a:r>
              </a:p>
            </p:txBody>
          </p:sp>
        </p:grpSp>
        <p:grpSp>
          <p:nvGrpSpPr>
            <p:cNvPr id="46" name="Group 45">
              <a:extLst>
                <a:ext uri="{FF2B5EF4-FFF2-40B4-BE49-F238E27FC236}">
                  <a16:creationId xmlns:a16="http://schemas.microsoft.com/office/drawing/2014/main" id="{BC6CE6E3-7AB5-4E98-80CB-B2713A18C68F}"/>
                </a:ext>
              </a:extLst>
            </p:cNvPr>
            <p:cNvGrpSpPr>
              <a:grpSpLocks noChangeAspect="1"/>
            </p:cNvGrpSpPr>
            <p:nvPr/>
          </p:nvGrpSpPr>
          <p:grpSpPr>
            <a:xfrm>
              <a:off x="9106100" y="3729746"/>
              <a:ext cx="2671201" cy="482453"/>
              <a:chOff x="1606561" y="4155770"/>
              <a:chExt cx="1644074" cy="296941"/>
            </a:xfrm>
          </p:grpSpPr>
          <p:sp>
            <p:nvSpPr>
              <p:cNvPr id="47" name="Footer Placeholder 3">
                <a:extLst>
                  <a:ext uri="{FF2B5EF4-FFF2-40B4-BE49-F238E27FC236}">
                    <a16:creationId xmlns:a16="http://schemas.microsoft.com/office/drawing/2014/main" id="{8155D209-63FE-409E-9ED8-784D0FBC82C7}"/>
                  </a:ext>
                </a:extLst>
              </p:cNvPr>
              <p:cNvSpPr txBox="1">
                <a:spLocks/>
              </p:cNvSpPr>
              <p:nvPr/>
            </p:nvSpPr>
            <p:spPr>
              <a:xfrm>
                <a:off x="1606561"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1 806 726</a:t>
                </a:r>
              </a:p>
              <a:p>
                <a:pPr algn="ctr"/>
                <a:r>
                  <a:rPr lang="fr-FR" sz="1100" i="0">
                    <a:solidFill>
                      <a:srgbClr val="44546A"/>
                    </a:solidFill>
                    <a:latin typeface="Arial"/>
                    <a:ea typeface="+mn-ea"/>
                  </a:rPr>
                  <a:t>Du 01/01/2022 au 31/12/2022</a:t>
                </a:r>
              </a:p>
            </p:txBody>
          </p:sp>
          <p:sp>
            <p:nvSpPr>
              <p:cNvPr id="48" name="Footer Placeholder 3">
                <a:extLst>
                  <a:ext uri="{FF2B5EF4-FFF2-40B4-BE49-F238E27FC236}">
                    <a16:creationId xmlns:a16="http://schemas.microsoft.com/office/drawing/2014/main" id="{69DBB8D5-F680-4AAD-A07A-D56BF0F923F2}"/>
                  </a:ext>
                </a:extLst>
              </p:cNvPr>
              <p:cNvSpPr txBox="1">
                <a:spLocks/>
              </p:cNvSpPr>
              <p:nvPr/>
            </p:nvSpPr>
            <p:spPr>
              <a:xfrm>
                <a:off x="2657734"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4 058 421 </a:t>
                </a:r>
              </a:p>
              <a:p>
                <a:pPr algn="ctr"/>
                <a:r>
                  <a:rPr lang="fr-FR" sz="1100" i="0">
                    <a:solidFill>
                      <a:srgbClr val="44546A"/>
                    </a:solidFill>
                    <a:latin typeface="Arial"/>
                    <a:ea typeface="+mn-ea"/>
                  </a:rPr>
                  <a:t>Du 01/03/2022 au 28/02/2023</a:t>
                </a:r>
              </a:p>
            </p:txBody>
          </p:sp>
          <p:cxnSp>
            <p:nvCxnSpPr>
              <p:cNvPr id="49" name="Straight Arrow Connector 48">
                <a:extLst>
                  <a:ext uri="{FF2B5EF4-FFF2-40B4-BE49-F238E27FC236}">
                    <a16:creationId xmlns:a16="http://schemas.microsoft.com/office/drawing/2014/main" id="{0D128995-CFBA-476E-9527-A6D154A22F14}"/>
                  </a:ext>
                </a:extLst>
              </p:cNvPr>
              <p:cNvCxnSpPr>
                <a:cxnSpLocks/>
                <a:stCxn id="47" idx="3"/>
                <a:endCxn id="48" idx="1"/>
              </p:cNvCxnSpPr>
              <p:nvPr/>
            </p:nvCxnSpPr>
            <p:spPr>
              <a:xfrm>
                <a:off x="2199462" y="4315789"/>
                <a:ext cx="45827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0" name="Footer Placeholder 3">
                <a:extLst>
                  <a:ext uri="{FF2B5EF4-FFF2-40B4-BE49-F238E27FC236}">
                    <a16:creationId xmlns:a16="http://schemas.microsoft.com/office/drawing/2014/main" id="{80EE9C93-1BB0-4679-8A2D-BB52B1D430C6}"/>
                  </a:ext>
                </a:extLst>
              </p:cNvPr>
              <p:cNvSpPr txBox="1">
                <a:spLocks/>
              </p:cNvSpPr>
              <p:nvPr/>
            </p:nvSpPr>
            <p:spPr>
              <a:xfrm>
                <a:off x="2132147" y="4155770"/>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lnSpc>
                    <a:spcPct val="150000"/>
                  </a:lnSpc>
                </a:pPr>
                <a:r>
                  <a:rPr lang="fr-FR" sz="1200" b="1" i="0">
                    <a:solidFill>
                      <a:srgbClr val="00B050"/>
                    </a:solidFill>
                    <a:latin typeface="Arial"/>
                    <a:ea typeface="+mn-ea"/>
                  </a:rPr>
                  <a:t>+ 11 % </a:t>
                </a:r>
              </a:p>
              <a:p>
                <a:pPr algn="ctr">
                  <a:lnSpc>
                    <a:spcPct val="150000"/>
                  </a:lnSpc>
                </a:pPr>
                <a:r>
                  <a:rPr lang="fr-FR" sz="1100" i="0">
                    <a:solidFill>
                      <a:srgbClr val="00B050"/>
                    </a:solidFill>
                    <a:latin typeface="Arial"/>
                    <a:ea typeface="+mn-ea"/>
                  </a:rPr>
                  <a:t>En 2 mois</a:t>
                </a:r>
              </a:p>
            </p:txBody>
          </p:sp>
        </p:grpSp>
      </p:grpSp>
      <p:grpSp>
        <p:nvGrpSpPr>
          <p:cNvPr id="65" name="Group 64">
            <a:extLst>
              <a:ext uri="{FF2B5EF4-FFF2-40B4-BE49-F238E27FC236}">
                <a16:creationId xmlns:a16="http://schemas.microsoft.com/office/drawing/2014/main" id="{DD5A0C60-E109-4B94-8D03-5B81EF5DDFF1}"/>
              </a:ext>
            </a:extLst>
          </p:cNvPr>
          <p:cNvGrpSpPr/>
          <p:nvPr/>
        </p:nvGrpSpPr>
        <p:grpSpPr>
          <a:xfrm>
            <a:off x="9106100" y="4805438"/>
            <a:ext cx="2671201" cy="1028295"/>
            <a:chOff x="9106100" y="4599698"/>
            <a:chExt cx="2671201" cy="1028295"/>
          </a:xfrm>
        </p:grpSpPr>
        <p:grpSp>
          <p:nvGrpSpPr>
            <p:cNvPr id="64" name="Group 63">
              <a:extLst>
                <a:ext uri="{FF2B5EF4-FFF2-40B4-BE49-F238E27FC236}">
                  <a16:creationId xmlns:a16="http://schemas.microsoft.com/office/drawing/2014/main" id="{ACF7DF02-DE40-4A80-8376-F286FCDB60B2}"/>
                </a:ext>
              </a:extLst>
            </p:cNvPr>
            <p:cNvGrpSpPr/>
            <p:nvPr/>
          </p:nvGrpSpPr>
          <p:grpSpPr>
            <a:xfrm>
              <a:off x="9367822" y="4599698"/>
              <a:ext cx="2147754" cy="471763"/>
              <a:chOff x="9488156" y="4599698"/>
              <a:chExt cx="2147754" cy="471763"/>
            </a:xfrm>
          </p:grpSpPr>
          <p:pic>
            <p:nvPicPr>
              <p:cNvPr id="34" name="Graphic 58" descr="Needle outline">
                <a:extLst>
                  <a:ext uri="{FF2B5EF4-FFF2-40B4-BE49-F238E27FC236}">
                    <a16:creationId xmlns:a16="http://schemas.microsoft.com/office/drawing/2014/main" id="{E9A11687-E094-4D0E-A658-494D22F939C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594500" y="4599698"/>
                <a:ext cx="383858" cy="365767"/>
              </a:xfrm>
              <a:prstGeom prst="rect">
                <a:avLst/>
              </a:prstGeom>
            </p:spPr>
          </p:pic>
          <p:sp>
            <p:nvSpPr>
              <p:cNvPr id="35" name="Oval 54">
                <a:extLst>
                  <a:ext uri="{FF2B5EF4-FFF2-40B4-BE49-F238E27FC236}">
                    <a16:creationId xmlns:a16="http://schemas.microsoft.com/office/drawing/2014/main" id="{6833908E-1FE0-4DDB-B355-BD1C145580F4}"/>
                  </a:ext>
                </a:extLst>
              </p:cNvPr>
              <p:cNvSpPr>
                <a:spLocks noChangeAspect="1"/>
              </p:cNvSpPr>
              <p:nvPr/>
            </p:nvSpPr>
            <p:spPr>
              <a:xfrm>
                <a:off x="9488156" y="4686298"/>
                <a:ext cx="344247" cy="322388"/>
              </a:xfrm>
              <a:prstGeom prst="ellipse">
                <a:avLst/>
              </a:prstGeom>
              <a:solidFill>
                <a:srgbClr val="2AB3A6">
                  <a:alpha val="30000"/>
                </a:srgbClr>
              </a:solidFill>
              <a:ln w="12700" cap="flat" cmpd="sng" algn="ctr">
                <a:noFill/>
                <a:prstDash val="solid"/>
                <a:miter lim="800000"/>
              </a:ln>
              <a:effectLst/>
            </p:spPr>
            <p:txBody>
              <a:bodyPr wrap="square" rtlCol="0" anchor="ct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extBox 57">
                <a:extLst>
                  <a:ext uri="{FF2B5EF4-FFF2-40B4-BE49-F238E27FC236}">
                    <a16:creationId xmlns:a16="http://schemas.microsoft.com/office/drawing/2014/main" id="{EF861922-5B0E-4CD9-9AC7-AFB013BB0F02}"/>
                  </a:ext>
                </a:extLst>
              </p:cNvPr>
              <p:cNvSpPr txBox="1"/>
              <p:nvPr/>
            </p:nvSpPr>
            <p:spPr>
              <a:xfrm>
                <a:off x="9987697" y="4640574"/>
                <a:ext cx="1648213" cy="430887"/>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AB3A6"/>
                    </a:solidFill>
                    <a:effectLst/>
                    <a:uLnTx/>
                    <a:uFillTx/>
                    <a:latin typeface="Arial" panose="020B0604020202020204"/>
                    <a:ea typeface="+mn-ea"/>
                    <a:cs typeface="+mn-cs"/>
                  </a:rPr>
                  <a:t>Laboratoires d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2AB3A6"/>
                    </a:solidFill>
                    <a:effectLst/>
                    <a:uLnTx/>
                    <a:uFillTx/>
                    <a:latin typeface="Arial" panose="020B0604020202020204"/>
                    <a:ea typeface="+mn-ea"/>
                    <a:cs typeface="+mn-cs"/>
                  </a:rPr>
                  <a:t>biologie médicale</a:t>
                </a:r>
              </a:p>
            </p:txBody>
          </p:sp>
        </p:grpSp>
        <p:grpSp>
          <p:nvGrpSpPr>
            <p:cNvPr id="51" name="Group 50">
              <a:extLst>
                <a:ext uri="{FF2B5EF4-FFF2-40B4-BE49-F238E27FC236}">
                  <a16:creationId xmlns:a16="http://schemas.microsoft.com/office/drawing/2014/main" id="{BB70566B-007D-4350-8073-1742EA7CD4BA}"/>
                </a:ext>
              </a:extLst>
            </p:cNvPr>
            <p:cNvGrpSpPr>
              <a:grpSpLocks noChangeAspect="1"/>
            </p:cNvGrpSpPr>
            <p:nvPr/>
          </p:nvGrpSpPr>
          <p:grpSpPr>
            <a:xfrm>
              <a:off x="9106100" y="5145540"/>
              <a:ext cx="2671201" cy="482453"/>
              <a:chOff x="1606561" y="4155770"/>
              <a:chExt cx="1644074" cy="296941"/>
            </a:xfrm>
          </p:grpSpPr>
          <p:sp>
            <p:nvSpPr>
              <p:cNvPr id="52" name="Footer Placeholder 3">
                <a:extLst>
                  <a:ext uri="{FF2B5EF4-FFF2-40B4-BE49-F238E27FC236}">
                    <a16:creationId xmlns:a16="http://schemas.microsoft.com/office/drawing/2014/main" id="{83A53B01-064E-4DB6-84F6-2863F011E84F}"/>
                  </a:ext>
                </a:extLst>
              </p:cNvPr>
              <p:cNvSpPr txBox="1">
                <a:spLocks/>
              </p:cNvSpPr>
              <p:nvPr/>
            </p:nvSpPr>
            <p:spPr>
              <a:xfrm>
                <a:off x="1606561"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17 667 767</a:t>
                </a:r>
              </a:p>
              <a:p>
                <a:pPr algn="ctr"/>
                <a:r>
                  <a:rPr lang="fr-FR" sz="1100" i="0">
                    <a:solidFill>
                      <a:srgbClr val="44546A"/>
                    </a:solidFill>
                    <a:latin typeface="Arial"/>
                    <a:ea typeface="+mn-ea"/>
                  </a:rPr>
                  <a:t>Du 01/01/2022 au 31/12/2022</a:t>
                </a:r>
              </a:p>
            </p:txBody>
          </p:sp>
          <p:sp>
            <p:nvSpPr>
              <p:cNvPr id="53" name="Footer Placeholder 3">
                <a:extLst>
                  <a:ext uri="{FF2B5EF4-FFF2-40B4-BE49-F238E27FC236}">
                    <a16:creationId xmlns:a16="http://schemas.microsoft.com/office/drawing/2014/main" id="{A02610B2-50E6-4329-BE51-69A2DB00F0C2}"/>
                  </a:ext>
                </a:extLst>
              </p:cNvPr>
              <p:cNvSpPr txBox="1">
                <a:spLocks/>
              </p:cNvSpPr>
              <p:nvPr/>
            </p:nvSpPr>
            <p:spPr>
              <a:xfrm>
                <a:off x="2657734" y="4178867"/>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r>
                  <a:rPr lang="fr-FR" sz="1200" b="1" i="0">
                    <a:solidFill>
                      <a:srgbClr val="44546A"/>
                    </a:solidFill>
                    <a:latin typeface="Arial"/>
                    <a:ea typeface="+mn-ea"/>
                  </a:rPr>
                  <a:t>21 447 005 </a:t>
                </a:r>
              </a:p>
              <a:p>
                <a:pPr algn="ctr"/>
                <a:r>
                  <a:rPr lang="fr-FR" sz="1100" i="0">
                    <a:solidFill>
                      <a:srgbClr val="44546A"/>
                    </a:solidFill>
                    <a:latin typeface="Arial"/>
                    <a:ea typeface="+mn-ea"/>
                  </a:rPr>
                  <a:t>Du 01/03/2022 au 28/02/2023</a:t>
                </a:r>
              </a:p>
            </p:txBody>
          </p:sp>
          <p:cxnSp>
            <p:nvCxnSpPr>
              <p:cNvPr id="54" name="Straight Arrow Connector 53">
                <a:extLst>
                  <a:ext uri="{FF2B5EF4-FFF2-40B4-BE49-F238E27FC236}">
                    <a16:creationId xmlns:a16="http://schemas.microsoft.com/office/drawing/2014/main" id="{75E09CBC-B3EF-4FA5-B1B6-BE9411CD9A9E}"/>
                  </a:ext>
                </a:extLst>
              </p:cNvPr>
              <p:cNvCxnSpPr>
                <a:cxnSpLocks/>
                <a:stCxn id="52" idx="3"/>
                <a:endCxn id="53" idx="1"/>
              </p:cNvCxnSpPr>
              <p:nvPr/>
            </p:nvCxnSpPr>
            <p:spPr>
              <a:xfrm>
                <a:off x="2199462" y="4315789"/>
                <a:ext cx="458272"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Footer Placeholder 3">
                <a:extLst>
                  <a:ext uri="{FF2B5EF4-FFF2-40B4-BE49-F238E27FC236}">
                    <a16:creationId xmlns:a16="http://schemas.microsoft.com/office/drawing/2014/main" id="{BF070844-4EEE-494E-8302-677E4B379F56}"/>
                  </a:ext>
                </a:extLst>
              </p:cNvPr>
              <p:cNvSpPr txBox="1">
                <a:spLocks/>
              </p:cNvSpPr>
              <p:nvPr/>
            </p:nvSpPr>
            <p:spPr>
              <a:xfrm>
                <a:off x="2132147" y="4155770"/>
                <a:ext cx="592901" cy="273844"/>
              </a:xfrm>
              <a:prstGeom prst="rect">
                <a:avLst/>
              </a:prstGeom>
            </p:spPr>
            <p:txBody>
              <a:bodyPr vert="horz" lIns="0" tIns="0" rIns="0" bIns="0" rtlCol="0" anchor="ctr"/>
              <a:lstStyle>
                <a:defPPr>
                  <a:defRPr lang="fr-FR"/>
                </a:defPPr>
                <a:lvl1pPr marL="0" marR="0" indent="0" algn="l" defTabSz="914400" rtl="0" eaLnBrk="1" fontAlgn="auto" latinLnBrk="0" hangingPunct="1">
                  <a:lnSpc>
                    <a:spcPct val="100000"/>
                  </a:lnSpc>
                  <a:spcBef>
                    <a:spcPts val="0"/>
                  </a:spcBef>
                  <a:spcAft>
                    <a:spcPts val="0"/>
                  </a:spcAft>
                  <a:buClrTx/>
                  <a:buSzTx/>
                  <a:buFontTx/>
                  <a:buNone/>
                  <a:tabLst/>
                  <a:defRPr sz="800" i="1" kern="1200">
                    <a:solidFill>
                      <a:srgbClr val="575757"/>
                    </a:solidFill>
                    <a:latin typeface="Arial" charset="0"/>
                    <a:ea typeface="Geneva" charset="-128"/>
                    <a:cs typeface="+mn-cs"/>
                  </a:defRPr>
                </a:lvl1pPr>
                <a:lvl2pPr marL="457200" algn="l" rtl="0" fontAlgn="base">
                  <a:spcBef>
                    <a:spcPct val="0"/>
                  </a:spcBef>
                  <a:spcAft>
                    <a:spcPct val="0"/>
                  </a:spcAft>
                  <a:defRPr sz="2400" kern="1200">
                    <a:solidFill>
                      <a:schemeClr val="tx1"/>
                    </a:solidFill>
                    <a:latin typeface="Arial" charset="0"/>
                    <a:ea typeface="Geneva" charset="-128"/>
                    <a:cs typeface="+mn-cs"/>
                  </a:defRPr>
                </a:lvl2pPr>
                <a:lvl3pPr marL="914400" algn="l" rtl="0" fontAlgn="base">
                  <a:spcBef>
                    <a:spcPct val="0"/>
                  </a:spcBef>
                  <a:spcAft>
                    <a:spcPct val="0"/>
                  </a:spcAft>
                  <a:defRPr sz="2400" kern="1200">
                    <a:solidFill>
                      <a:schemeClr val="tx1"/>
                    </a:solidFill>
                    <a:latin typeface="Arial" charset="0"/>
                    <a:ea typeface="Geneva" charset="-128"/>
                    <a:cs typeface="+mn-cs"/>
                  </a:defRPr>
                </a:lvl3pPr>
                <a:lvl4pPr marL="1371600" algn="l" rtl="0" fontAlgn="base">
                  <a:spcBef>
                    <a:spcPct val="0"/>
                  </a:spcBef>
                  <a:spcAft>
                    <a:spcPct val="0"/>
                  </a:spcAft>
                  <a:defRPr sz="2400" kern="1200">
                    <a:solidFill>
                      <a:schemeClr val="tx1"/>
                    </a:solidFill>
                    <a:latin typeface="Arial" charset="0"/>
                    <a:ea typeface="Geneva" charset="-128"/>
                    <a:cs typeface="+mn-cs"/>
                  </a:defRPr>
                </a:lvl4pPr>
                <a:lvl5pPr marL="1828800" algn="l" rtl="0" fontAlgn="base">
                  <a:spcBef>
                    <a:spcPct val="0"/>
                  </a:spcBef>
                  <a:spcAft>
                    <a:spcPct val="0"/>
                  </a:spcAft>
                  <a:defRPr sz="2400" kern="1200">
                    <a:solidFill>
                      <a:schemeClr val="tx1"/>
                    </a:solidFill>
                    <a:latin typeface="Arial" charset="0"/>
                    <a:ea typeface="Geneva" charset="-128"/>
                    <a:cs typeface="+mn-cs"/>
                  </a:defRPr>
                </a:lvl5pPr>
                <a:lvl6pPr marL="2286000" algn="l" defTabSz="914400" rtl="0" eaLnBrk="1" latinLnBrk="0" hangingPunct="1">
                  <a:defRPr sz="2400" kern="1200">
                    <a:solidFill>
                      <a:schemeClr val="tx1"/>
                    </a:solidFill>
                    <a:latin typeface="Arial" charset="0"/>
                    <a:ea typeface="Geneva" charset="-128"/>
                    <a:cs typeface="+mn-cs"/>
                  </a:defRPr>
                </a:lvl6pPr>
                <a:lvl7pPr marL="2743200" algn="l" defTabSz="914400" rtl="0" eaLnBrk="1" latinLnBrk="0" hangingPunct="1">
                  <a:defRPr sz="2400" kern="1200">
                    <a:solidFill>
                      <a:schemeClr val="tx1"/>
                    </a:solidFill>
                    <a:latin typeface="Arial" charset="0"/>
                    <a:ea typeface="Geneva" charset="-128"/>
                    <a:cs typeface="+mn-cs"/>
                  </a:defRPr>
                </a:lvl7pPr>
                <a:lvl8pPr marL="3200400" algn="l" defTabSz="914400" rtl="0" eaLnBrk="1" latinLnBrk="0" hangingPunct="1">
                  <a:defRPr sz="2400" kern="1200">
                    <a:solidFill>
                      <a:schemeClr val="tx1"/>
                    </a:solidFill>
                    <a:latin typeface="Arial" charset="0"/>
                    <a:ea typeface="Geneva" charset="-128"/>
                    <a:cs typeface="+mn-cs"/>
                  </a:defRPr>
                </a:lvl8pPr>
                <a:lvl9pPr marL="3657600" algn="l" defTabSz="914400" rtl="0" eaLnBrk="1" latinLnBrk="0" hangingPunct="1">
                  <a:defRPr sz="2400" kern="1200">
                    <a:solidFill>
                      <a:schemeClr val="tx1"/>
                    </a:solidFill>
                    <a:latin typeface="Arial" charset="0"/>
                    <a:ea typeface="Geneva" charset="-128"/>
                    <a:cs typeface="+mn-cs"/>
                  </a:defRPr>
                </a:lvl9pPr>
              </a:lstStyle>
              <a:p>
                <a:pPr algn="ctr">
                  <a:lnSpc>
                    <a:spcPct val="150000"/>
                  </a:lnSpc>
                </a:pPr>
                <a:r>
                  <a:rPr lang="fr-FR" sz="1200" b="1" i="0">
                    <a:solidFill>
                      <a:srgbClr val="00B050"/>
                    </a:solidFill>
                    <a:latin typeface="Arial"/>
                    <a:ea typeface="+mn-ea"/>
                  </a:rPr>
                  <a:t>+ 21 % </a:t>
                </a:r>
              </a:p>
              <a:p>
                <a:pPr algn="ctr">
                  <a:lnSpc>
                    <a:spcPct val="150000"/>
                  </a:lnSpc>
                </a:pPr>
                <a:r>
                  <a:rPr lang="fr-FR" sz="1100" i="0">
                    <a:solidFill>
                      <a:srgbClr val="00B050"/>
                    </a:solidFill>
                    <a:latin typeface="Arial"/>
                    <a:ea typeface="+mn-ea"/>
                  </a:rPr>
                  <a:t>En 2 mois</a:t>
                </a:r>
              </a:p>
            </p:txBody>
          </p:sp>
        </p:grpSp>
      </p:grpSp>
      <p:sp>
        <p:nvSpPr>
          <p:cNvPr id="57" name="TextBox 153">
            <a:extLst>
              <a:ext uri="{FF2B5EF4-FFF2-40B4-BE49-F238E27FC236}">
                <a16:creationId xmlns:a16="http://schemas.microsoft.com/office/drawing/2014/main" id="{14A7C2A6-961E-42FC-8E35-C961C9AA4C7B}"/>
              </a:ext>
            </a:extLst>
          </p:cNvPr>
          <p:cNvSpPr txBox="1"/>
          <p:nvPr/>
        </p:nvSpPr>
        <p:spPr>
          <a:xfrm>
            <a:off x="565927" y="4871228"/>
            <a:ext cx="8212314" cy="1250042"/>
          </a:xfrm>
          <a:prstGeom prst="rect">
            <a:avLst/>
          </a:prstGeom>
          <a:solidFill>
            <a:schemeClr val="bg1">
              <a:alpha val="91000"/>
            </a:schemeClr>
          </a:solidFill>
          <a:ln>
            <a:noFill/>
          </a:ln>
          <a:effectLst>
            <a:outerShdw blurRad="50800" dist="38100" dir="2700000" algn="tl" rotWithShape="0">
              <a:prstClr val="black">
                <a:alpha val="40000"/>
              </a:prstClr>
            </a:outerShdw>
          </a:effectLst>
        </p:spPr>
        <p:txBody>
          <a:bodyPr wrap="square" lIns="91440" tIns="45720" rIns="91440" bIns="45720" anchor="ctr">
            <a:no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defTabSz="685800" eaLnBrk="1" fontAlgn="auto" hangingPunct="1">
              <a:spcBef>
                <a:spcPts val="0"/>
              </a:spcBef>
              <a:spcAft>
                <a:spcPts val="300"/>
              </a:spcAft>
              <a:defRPr/>
            </a:pPr>
            <a:r>
              <a:rPr lang="x-none" sz="1200">
                <a:solidFill>
                  <a:srgbClr val="44546A"/>
                </a:solidFill>
                <a:latin typeface="+mn-lt"/>
                <a:cs typeface="Arial"/>
                <a:sym typeface="Arial"/>
              </a:rPr>
              <a:t>Depuis </a:t>
            </a:r>
            <a:r>
              <a:rPr lang="fr-FR" sz="1200">
                <a:solidFill>
                  <a:srgbClr val="44546A"/>
                </a:solidFill>
                <a:latin typeface="+mn-lt"/>
                <a:cs typeface="Arial"/>
                <a:sym typeface="Arial"/>
              </a:rPr>
              <a:t>le 1</a:t>
            </a:r>
            <a:r>
              <a:rPr lang="fr-FR" sz="1200" baseline="30000">
                <a:solidFill>
                  <a:srgbClr val="44546A"/>
                </a:solidFill>
                <a:latin typeface="+mn-lt"/>
                <a:cs typeface="Arial"/>
                <a:sym typeface="Arial"/>
              </a:rPr>
              <a:t>er</a:t>
            </a:r>
            <a:r>
              <a:rPr lang="fr-FR" sz="1200">
                <a:solidFill>
                  <a:srgbClr val="44546A"/>
                </a:solidFill>
                <a:latin typeface="+mn-lt"/>
                <a:cs typeface="Arial"/>
                <a:sym typeface="Arial"/>
              </a:rPr>
              <a:t> </a:t>
            </a:r>
            <a:r>
              <a:rPr lang="x-none" sz="1200">
                <a:solidFill>
                  <a:srgbClr val="44546A"/>
                </a:solidFill>
                <a:latin typeface="+mn-lt"/>
                <a:cs typeface="Arial"/>
                <a:sym typeface="Arial"/>
              </a:rPr>
              <a:t>janvier 2</a:t>
            </a:r>
            <a:r>
              <a:rPr lang="fr-FR" sz="1200">
                <a:solidFill>
                  <a:srgbClr val="44546A"/>
                </a:solidFill>
                <a:latin typeface="+mn-lt"/>
                <a:cs typeface="Arial"/>
                <a:sym typeface="Arial"/>
              </a:rPr>
              <a:t>022</a:t>
            </a:r>
            <a:r>
              <a:rPr lang="x-none" sz="1200">
                <a:solidFill>
                  <a:srgbClr val="44546A"/>
                </a:solidFill>
                <a:latin typeface="+mn-lt"/>
                <a:cs typeface="Arial"/>
                <a:sym typeface="Arial"/>
              </a:rPr>
              <a:t>, </a:t>
            </a:r>
            <a:endParaRPr lang="fr-FR" sz="1200">
              <a:solidFill>
                <a:srgbClr val="44546A"/>
              </a:solidFill>
              <a:latin typeface="+mn-lt"/>
              <a:cs typeface="Arial"/>
              <a:sym typeface="Arial"/>
            </a:endParaRPr>
          </a:p>
          <a:p>
            <a:pPr marL="285750" indent="-285750" defTabSz="685800" eaLnBrk="1" fontAlgn="auto" hangingPunct="1">
              <a:spcBef>
                <a:spcPts val="0"/>
              </a:spcBef>
              <a:spcAft>
                <a:spcPts val="300"/>
              </a:spcAft>
              <a:buFont typeface="Wingdings" panose="05000000000000000000" pitchFamily="2" charset="2"/>
              <a:buChar char="ü"/>
              <a:defRPr/>
            </a:pPr>
            <a:r>
              <a:rPr lang="fr-FR" sz="1200" b="1">
                <a:solidFill>
                  <a:srgbClr val="D61252"/>
                </a:solidFill>
                <a:latin typeface="+mn-lt"/>
                <a:cs typeface="Arial"/>
                <a:sym typeface="Arial"/>
              </a:rPr>
              <a:t>+54 </a:t>
            </a:r>
            <a:r>
              <a:rPr lang="x-none" sz="1200" b="1">
                <a:solidFill>
                  <a:srgbClr val="D61252"/>
                </a:solidFill>
                <a:latin typeface="+mn-lt"/>
                <a:cs typeface="Arial"/>
                <a:sym typeface="Arial"/>
              </a:rPr>
              <a:t>millions de documents </a:t>
            </a:r>
            <a:r>
              <a:rPr lang="x-none" sz="1200">
                <a:solidFill>
                  <a:srgbClr val="44546A"/>
                </a:solidFill>
                <a:latin typeface="+mn-lt"/>
                <a:cs typeface="Arial"/>
                <a:sym typeface="Arial"/>
              </a:rPr>
              <a:t>envoyés aux patients dans Mon espace santé (hors SI-DEP)</a:t>
            </a:r>
            <a:r>
              <a:rPr lang="fr-FR" sz="1200">
                <a:solidFill>
                  <a:srgbClr val="44546A"/>
                </a:solidFill>
                <a:latin typeface="+mn-lt"/>
                <a:cs typeface="Arial"/>
                <a:sym typeface="Arial"/>
              </a:rPr>
              <a:t> à fin février 23</a:t>
            </a:r>
          </a:p>
          <a:p>
            <a:pPr marL="285750" indent="-285750" defTabSz="685800" eaLnBrk="1" fontAlgn="auto" hangingPunct="1">
              <a:spcBef>
                <a:spcPts val="0"/>
              </a:spcBef>
              <a:spcAft>
                <a:spcPts val="300"/>
              </a:spcAft>
              <a:buFont typeface="Wingdings" panose="05000000000000000000" pitchFamily="2" charset="2"/>
              <a:buChar char="ü"/>
              <a:defRPr/>
            </a:pPr>
            <a:r>
              <a:rPr lang="x-none" sz="1200" b="1">
                <a:solidFill>
                  <a:srgbClr val="D61252"/>
                </a:solidFill>
                <a:latin typeface="+mn-lt"/>
                <a:cs typeface="Arial"/>
              </a:rPr>
              <a:t>X5 envois mensuels </a:t>
            </a:r>
            <a:r>
              <a:rPr lang="x-none" sz="1200">
                <a:solidFill>
                  <a:srgbClr val="44546A"/>
                </a:solidFill>
                <a:latin typeface="+mn-lt"/>
                <a:cs typeface="Arial"/>
              </a:rPr>
              <a:t>entre </a:t>
            </a:r>
            <a:r>
              <a:rPr lang="fr-FR" sz="1200">
                <a:solidFill>
                  <a:srgbClr val="44546A"/>
                </a:solidFill>
                <a:latin typeface="+mn-lt"/>
                <a:cs typeface="Arial"/>
              </a:rPr>
              <a:t>février</a:t>
            </a:r>
            <a:r>
              <a:rPr lang="x-none" sz="1200">
                <a:solidFill>
                  <a:srgbClr val="44546A"/>
                </a:solidFill>
                <a:latin typeface="+mn-lt"/>
                <a:cs typeface="Arial"/>
              </a:rPr>
              <a:t> 22 et </a:t>
            </a:r>
            <a:r>
              <a:rPr lang="fr-FR" sz="1200">
                <a:solidFill>
                  <a:srgbClr val="44546A"/>
                </a:solidFill>
                <a:latin typeface="+mn-lt"/>
                <a:cs typeface="Arial"/>
              </a:rPr>
              <a:t>février</a:t>
            </a:r>
            <a:r>
              <a:rPr lang="x-none" sz="1200">
                <a:solidFill>
                  <a:srgbClr val="44546A"/>
                </a:solidFill>
                <a:latin typeface="+mn-lt"/>
                <a:cs typeface="Arial"/>
              </a:rPr>
              <a:t> 23</a:t>
            </a:r>
            <a:r>
              <a:rPr lang="fr-FR" sz="1200">
                <a:solidFill>
                  <a:srgbClr val="44546A"/>
                </a:solidFill>
                <a:latin typeface="+mn-lt"/>
                <a:cs typeface="Arial"/>
              </a:rPr>
              <a:t> hors SI-DEP</a:t>
            </a:r>
          </a:p>
          <a:p>
            <a:pPr marL="285750" indent="-285750" defTabSz="685800" eaLnBrk="1" fontAlgn="auto" hangingPunct="1">
              <a:spcBef>
                <a:spcPts val="0"/>
              </a:spcBef>
              <a:spcAft>
                <a:spcPts val="300"/>
              </a:spcAft>
              <a:buFont typeface="Wingdings" panose="05000000000000000000" pitchFamily="2" charset="2"/>
              <a:buChar char="ü"/>
              <a:defRPr/>
            </a:pPr>
            <a:r>
              <a:rPr lang="fr-FR" sz="1200" b="1">
                <a:solidFill>
                  <a:srgbClr val="D61252"/>
                </a:solidFill>
                <a:latin typeface="+mn-lt"/>
                <a:cs typeface="Arial"/>
                <a:sym typeface="Wingdings" panose="05000000000000000000" pitchFamily="2" charset="2"/>
              </a:rPr>
              <a:t>+7,3 millions de documents </a:t>
            </a:r>
            <a:r>
              <a:rPr lang="fr-FR" sz="1200">
                <a:solidFill>
                  <a:srgbClr val="44546A"/>
                </a:solidFill>
                <a:latin typeface="+mn-lt"/>
                <a:cs typeface="Arial"/>
                <a:sym typeface="Wingdings" panose="05000000000000000000" pitchFamily="2" charset="2"/>
              </a:rPr>
              <a:t>en février 2023 hors patients et SI-DEP</a:t>
            </a:r>
          </a:p>
          <a:p>
            <a:pPr marL="285750" indent="-285750" defTabSz="685800" eaLnBrk="1" fontAlgn="auto" hangingPunct="1">
              <a:spcBef>
                <a:spcPts val="0"/>
              </a:spcBef>
              <a:spcAft>
                <a:spcPts val="300"/>
              </a:spcAft>
              <a:buFont typeface="Wingdings" panose="05000000000000000000" pitchFamily="2" charset="2"/>
              <a:buChar char="ü"/>
              <a:defRPr/>
            </a:pPr>
            <a:r>
              <a:rPr lang="fr-FR" sz="1200" b="1">
                <a:solidFill>
                  <a:srgbClr val="D61252"/>
                </a:solidFill>
                <a:latin typeface="+mn-lt"/>
                <a:sym typeface="Helvetica Neue"/>
              </a:rPr>
              <a:t>+15 000 </a:t>
            </a:r>
            <a:r>
              <a:rPr lang="fr-FR" sz="1200" b="1">
                <a:solidFill>
                  <a:srgbClr val="D61252"/>
                </a:solidFill>
                <a:latin typeface="+mn-lt"/>
                <a:cs typeface="Arial"/>
                <a:sym typeface="Helvetica Neue"/>
              </a:rPr>
              <a:t>professionnels de santé </a:t>
            </a:r>
            <a:r>
              <a:rPr lang="fr-FR" sz="1200">
                <a:solidFill>
                  <a:srgbClr val="44546A"/>
                </a:solidFill>
                <a:latin typeface="+mn-lt"/>
                <a:cs typeface="Arial"/>
                <a:sym typeface="Helvetica Neue"/>
              </a:rPr>
              <a:t>distincts ont utilisé la messagerie au 7 mars 23</a:t>
            </a:r>
          </a:p>
        </p:txBody>
      </p:sp>
      <p:sp>
        <p:nvSpPr>
          <p:cNvPr id="69" name="ZoneTexte 68"/>
          <p:cNvSpPr txBox="1"/>
          <p:nvPr/>
        </p:nvSpPr>
        <p:spPr>
          <a:xfrm>
            <a:off x="572623" y="6248098"/>
            <a:ext cx="6715145" cy="225854"/>
          </a:xfrm>
          <a:prstGeom prst="rect">
            <a:avLst/>
          </a:prstGeom>
          <a:ln w="6350">
            <a:noFill/>
            <a:miter lim="800000"/>
          </a:ln>
        </p:spPr>
        <p:txBody>
          <a:bodyPr vert="horz" wrap="none" lIns="0" tIns="0" rIns="0" bIns="0" rtlCol="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fr-FR" sz="1100" b="0" i="0" u="none" strike="noStrike" kern="0" cap="none" spc="0" normalizeH="0" baseline="0" noProof="0">
                <a:ln>
                  <a:noFill/>
                </a:ln>
                <a:solidFill>
                  <a:srgbClr val="000000"/>
                </a:solidFill>
                <a:effectLst/>
                <a:uLnTx/>
                <a:uFillTx/>
              </a:rPr>
              <a:t>La transparence sur le suivi du Ségur numérique : </a:t>
            </a:r>
            <a:r>
              <a:rPr lang="fr-FR" sz="1100" kern="0">
                <a:solidFill>
                  <a:srgbClr val="000000"/>
                </a:solidFill>
                <a:hlinkClick r:id="rId13"/>
              </a:rPr>
              <a:t>https://esante.gouv.fr/segur/transparence</a:t>
            </a:r>
            <a:endParaRPr kumimoji="0" lang="fr-FR" sz="1100" b="0" i="0" u="none" strike="noStrike" kern="0" cap="none" spc="0" normalizeH="0" baseline="0" noProof="0">
              <a:ln>
                <a:noFill/>
              </a:ln>
              <a:solidFill>
                <a:srgbClr val="000000"/>
              </a:solidFill>
              <a:effectLst/>
              <a:uLnTx/>
              <a:uFillTx/>
            </a:endParaRPr>
          </a:p>
          <a:p>
            <a:pPr marL="0" marR="0" lvl="0" indent="0" defTabSz="914400" eaLnBrk="1" fontAlgn="auto" latinLnBrk="0" hangingPunct="1">
              <a:lnSpc>
                <a:spcPct val="100000"/>
              </a:lnSpc>
              <a:spcBef>
                <a:spcPts val="300"/>
              </a:spcBef>
              <a:spcAft>
                <a:spcPts val="300"/>
              </a:spcAft>
              <a:buClrTx/>
              <a:buSzTx/>
              <a:buFontTx/>
              <a:buNone/>
              <a:tabLst/>
              <a:defRPr/>
            </a:pPr>
            <a:endParaRPr kumimoji="0" lang="fr-FR" sz="11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23538775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03EEBD5-C970-C3BD-5EC5-DEB67BC5B555}"/>
              </a:ext>
            </a:extLst>
          </p:cNvPr>
          <p:cNvSpPr/>
          <p:nvPr/>
        </p:nvSpPr>
        <p:spPr>
          <a:xfrm>
            <a:off x="73153" y="1600307"/>
            <a:ext cx="4090474" cy="2510054"/>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200"/>
              </a:spcBef>
              <a:spcAft>
                <a:spcPts val="200"/>
              </a:spcAft>
              <a:buClrTx/>
              <a:buSzTx/>
              <a:buFontTx/>
              <a:buNone/>
              <a:tabLst/>
              <a:defRPr/>
            </a:pPr>
            <a:r>
              <a:rPr kumimoji="0" lang="fr-FR" sz="1500" b="1" i="1" u="sng" strike="noStrike" kern="1200" cap="none" spc="0" normalizeH="0" baseline="0" noProof="0">
                <a:ln>
                  <a:noFill/>
                </a:ln>
                <a:solidFill>
                  <a:srgbClr val="000000"/>
                </a:solidFill>
                <a:effectLst/>
                <a:uLnTx/>
                <a:uFillTx/>
                <a:latin typeface="Arial"/>
                <a:ea typeface="Arial"/>
                <a:cs typeface="Arial"/>
                <a:sym typeface="Arial"/>
              </a:rPr>
              <a:t>Qualité</a:t>
            </a:r>
            <a:r>
              <a:rPr kumimoji="0" lang="fr-FR" sz="1500" b="1" i="1" u="sng" strike="noStrike" kern="1200" cap="none" spc="0" normalizeH="0" noProof="0">
                <a:ln>
                  <a:noFill/>
                </a:ln>
                <a:solidFill>
                  <a:srgbClr val="000000"/>
                </a:solidFill>
                <a:effectLst/>
                <a:uLnTx/>
                <a:uFillTx/>
                <a:latin typeface="Arial"/>
                <a:ea typeface="Arial"/>
                <a:cs typeface="Arial"/>
                <a:sym typeface="Arial"/>
              </a:rPr>
              <a:t> </a:t>
            </a:r>
            <a:r>
              <a:rPr kumimoji="0" lang="fr-FR" sz="1500" b="1" i="1" u="sng" strike="noStrike" kern="1200" cap="none" spc="0" normalizeH="0" baseline="0" noProof="0">
                <a:ln>
                  <a:noFill/>
                </a:ln>
                <a:solidFill>
                  <a:srgbClr val="000000"/>
                </a:solidFill>
                <a:effectLst/>
                <a:uLnTx/>
                <a:uFillTx/>
                <a:latin typeface="Arial"/>
                <a:ea typeface="Arial"/>
                <a:cs typeface="Arial"/>
                <a:sym typeface="Arial"/>
              </a:rPr>
              <a:t>des déploiements des version Ségur de logiciels de gestion de cabinets</a:t>
            </a:r>
            <a:endParaRPr kumimoji="0" lang="fr-FR" sz="1500" b="0" i="0" u="none" strike="noStrike" kern="1200" cap="none" spc="0" normalizeH="0" baseline="0" noProof="0">
              <a:ln>
                <a:noFill/>
              </a:ln>
              <a:solidFill>
                <a:srgbClr val="000000"/>
              </a:solidFill>
              <a:effectLst/>
              <a:uLnTx/>
              <a:uFillTx/>
              <a:latin typeface="Arial"/>
              <a:ea typeface="Calibri"/>
              <a:cs typeface="Calibri"/>
              <a:sym typeface="Calibri"/>
            </a:endParaRPr>
          </a:p>
          <a:p>
            <a:pPr marL="360000" marR="0" lvl="0" indent="-294300" algn="l" defTabSz="914400" rtl="0" eaLnBrk="0" fontAlgn="base" latinLnBrk="0" hangingPunct="0">
              <a:lnSpc>
                <a:spcPct val="100000"/>
              </a:lnSpc>
              <a:spcBef>
                <a:spcPts val="200"/>
              </a:spcBef>
              <a:spcAft>
                <a:spcPts val="20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Des parcours </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utilisateurs perfectibles : des étapes et des clics à optimiser</a:t>
            </a:r>
            <a:endParaRPr kumimoji="0" lang="fr-FR" sz="1400" b="0" i="0" u="none" strike="noStrike" kern="1200" cap="none" spc="0" normalizeH="0" baseline="0" noProof="0">
              <a:ln>
                <a:noFill/>
              </a:ln>
              <a:solidFill>
                <a:srgbClr val="000000"/>
              </a:solidFill>
              <a:effectLst/>
              <a:uLnTx/>
              <a:uFillTx/>
              <a:latin typeface="Arial"/>
              <a:ea typeface="Arial"/>
              <a:cs typeface="Arial"/>
              <a:sym typeface="Arial"/>
            </a:endParaRPr>
          </a:p>
          <a:p>
            <a:pPr marL="360000" marR="0" lvl="0" indent="-294300" algn="l" defTabSz="914400" rtl="0" eaLnBrk="0" fontAlgn="base" latinLnBrk="0" hangingPunct="0">
              <a:lnSpc>
                <a:spcPct val="100000"/>
              </a:lnSpc>
              <a:spcBef>
                <a:spcPts val="200"/>
              </a:spcBef>
              <a:spcAft>
                <a:spcPts val="20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Des </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bugs et des instabilités logicielles</a:t>
            </a:r>
            <a:endParaRPr kumimoji="0" lang="fr-FR" sz="1400" b="0" i="0" u="none" strike="noStrike" kern="1200" cap="none" spc="0" normalizeH="0" baseline="0" noProof="0">
              <a:ln>
                <a:noFill/>
              </a:ln>
              <a:solidFill>
                <a:srgbClr val="000000"/>
              </a:solidFill>
              <a:effectLst/>
              <a:uLnTx/>
              <a:uFillTx/>
              <a:latin typeface="Arial"/>
              <a:ea typeface="Calibri"/>
              <a:cs typeface="Calibri"/>
              <a:sym typeface="Calibri"/>
            </a:endParaRPr>
          </a:p>
          <a:p>
            <a:pPr marL="360000" marR="0" lvl="0" indent="-294300" algn="l" defTabSz="914400" rtl="0" eaLnBrk="0" fontAlgn="base" latinLnBrk="0" hangingPunct="0">
              <a:lnSpc>
                <a:spcPct val="100000"/>
              </a:lnSpc>
              <a:spcBef>
                <a:spcPts val="200"/>
              </a:spcBef>
              <a:spcAft>
                <a:spcPts val="200"/>
              </a:spcAft>
              <a:buClr>
                <a:srgbClr val="000000"/>
              </a:buClr>
              <a:buSzPts val="1800"/>
              <a:buFont typeface="Arial"/>
              <a:buChar char="•"/>
              <a:tabLst/>
              <a:defRPr/>
            </a:pP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Un accompagnement des éditeurs</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 </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à renforcer et à adapter aux besoins </a:t>
            </a:r>
            <a:endParaRPr kumimoji="0" lang="fr-FR" sz="1400" b="0" i="0" u="none" strike="noStrike" kern="1200" cap="none" spc="0" normalizeH="0" baseline="0" noProof="0">
              <a:ln>
                <a:noFill/>
              </a:ln>
              <a:solidFill>
                <a:srgbClr val="000000"/>
              </a:solidFill>
              <a:effectLst/>
              <a:uLnTx/>
              <a:uFillTx/>
              <a:latin typeface="Arial"/>
              <a:ea typeface="Calibri"/>
              <a:cs typeface="Arial"/>
              <a:sym typeface="Arial"/>
            </a:endParaRPr>
          </a:p>
        </p:txBody>
      </p:sp>
      <p:sp>
        <p:nvSpPr>
          <p:cNvPr id="11" name="Google Shape;4778;p7">
            <a:extLst>
              <a:ext uri="{FF2B5EF4-FFF2-40B4-BE49-F238E27FC236}">
                <a16:creationId xmlns:a16="http://schemas.microsoft.com/office/drawing/2014/main" id="{B7350FDD-00F0-ACE8-EDEF-E6F25B44820B}"/>
              </a:ext>
            </a:extLst>
          </p:cNvPr>
          <p:cNvSpPr/>
          <p:nvPr/>
        </p:nvSpPr>
        <p:spPr>
          <a:xfrm>
            <a:off x="4305670" y="1600307"/>
            <a:ext cx="7466929" cy="2510054"/>
          </a:xfrm>
          <a:prstGeom prst="roundRect">
            <a:avLst>
              <a:gd name="adj" fmla="val 7077"/>
            </a:avLst>
          </a:prstGeom>
          <a:solidFill>
            <a:srgbClr val="F2F2F2"/>
          </a:solidFill>
          <a:ln>
            <a:noFill/>
          </a:ln>
        </p:spPr>
        <p:txBody>
          <a:bodyPr spcFirstLastPara="1" wrap="square" lIns="91425" tIns="45700" rIns="91425" bIns="45700" anchor="ctr" anchorCtr="0">
            <a:no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285750" marR="0" lvl="0" indent="-285750" algn="l" defTabSz="914400" rtl="0" eaLnBrk="0" fontAlgn="base" latinLnBrk="0" hangingPunct="0">
              <a:lnSpc>
                <a:spcPct val="100000"/>
              </a:lnSpc>
              <a:spcBef>
                <a:spcPts val="400"/>
              </a:spcBef>
              <a:spcAft>
                <a:spcPts val="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Un travail étroit mis en place avec les éditeurs de LGC pour “corriger la trajectoire” à travers des </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bilatérales éditeurs / pouvoirs publics</a:t>
            </a:r>
            <a:endParaRPr kumimoji="0" lang="fr-FR" sz="1400" b="0" i="0" u="none" strike="noStrike" kern="1200" cap="none" spc="0" normalizeH="0" baseline="0" noProof="0">
              <a:ln>
                <a:noFill/>
              </a:ln>
              <a:solidFill>
                <a:srgbClr val="000000"/>
              </a:solidFill>
              <a:effectLst/>
              <a:uLnTx/>
              <a:uFillTx/>
              <a:latin typeface="Arial"/>
              <a:ea typeface="Noto Sans Symbols"/>
              <a:cs typeface="Noto Sans Symbols"/>
              <a:sym typeface="Noto Sans Symbols"/>
            </a:endParaRPr>
          </a:p>
          <a:p>
            <a:pPr marL="285750" marR="0" lvl="0" indent="-285750" algn="l" defTabSz="914400" rtl="0" eaLnBrk="0" fontAlgn="base" latinLnBrk="0" hangingPunct="0">
              <a:lnSpc>
                <a:spcPct val="100000"/>
              </a:lnSpc>
              <a:spcBef>
                <a:spcPts val="400"/>
              </a:spcBef>
              <a:spcAft>
                <a:spcPts val="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Noto Sans Symbols"/>
                <a:cs typeface="Arial"/>
                <a:sym typeface="Arial"/>
              </a:rPr>
              <a:t>Plan d’action </a:t>
            </a:r>
            <a:r>
              <a:rPr kumimoji="0" lang="fr-FR" sz="1400" b="1" i="0" u="none" strike="noStrike" kern="1200" cap="none" spc="0" normalizeH="0" baseline="0" noProof="0">
                <a:ln>
                  <a:noFill/>
                </a:ln>
                <a:solidFill>
                  <a:srgbClr val="000000"/>
                </a:solidFill>
                <a:effectLst/>
                <a:uLnTx/>
                <a:uFillTx/>
                <a:latin typeface="Arial"/>
                <a:ea typeface="Noto Sans Symbols"/>
                <a:cs typeface="Arial"/>
                <a:sym typeface="Arial"/>
              </a:rPr>
              <a:t>suivi par le ministre</a:t>
            </a:r>
            <a:r>
              <a:rPr kumimoji="0" lang="fr-FR" sz="1400" b="0" i="0" u="none" strike="noStrike" kern="1200" cap="none" spc="0" normalizeH="0" baseline="0" noProof="0">
                <a:ln>
                  <a:noFill/>
                </a:ln>
                <a:solidFill>
                  <a:srgbClr val="000000"/>
                </a:solidFill>
                <a:effectLst/>
                <a:uLnTx/>
                <a:uFillTx/>
                <a:latin typeface="Arial"/>
                <a:ea typeface="Noto Sans Symbols"/>
                <a:cs typeface="Arial"/>
                <a:sym typeface="Arial"/>
              </a:rPr>
              <a:t> (réunion du 28 mars)</a:t>
            </a:r>
            <a:endParaRPr kumimoji="0" lang="en-US" sz="1400" b="0" i="0" u="none" strike="noStrike" kern="1200" cap="none" spc="0" normalizeH="0" baseline="0" noProof="0">
              <a:ln>
                <a:noFill/>
              </a:ln>
              <a:solidFill>
                <a:srgbClr val="000000"/>
              </a:solidFill>
              <a:effectLst/>
              <a:uLnTx/>
              <a:uFillTx/>
              <a:latin typeface="Arial"/>
              <a:ea typeface="Noto Sans Symbols"/>
              <a:cs typeface="Noto Sans Symbols"/>
              <a:sym typeface="Noto Sans Symbols"/>
            </a:endParaRPr>
          </a:p>
          <a:p>
            <a:pPr marL="285750" marR="0" lvl="0" indent="-285750" algn="l" defTabSz="914400" rtl="0" eaLnBrk="0" fontAlgn="base" latinLnBrk="0" hangingPunct="0">
              <a:lnSpc>
                <a:spcPct val="100000"/>
              </a:lnSpc>
              <a:spcBef>
                <a:spcPts val="400"/>
              </a:spcBef>
              <a:spcAft>
                <a:spcPts val="0"/>
              </a:spcAft>
              <a:buClr>
                <a:srgbClr val="000000"/>
              </a:buClr>
              <a:buSzPts val="1800"/>
              <a:buFont typeface="Arial"/>
              <a:buChar char="•"/>
              <a:tabLst/>
              <a:defRPr/>
            </a:pP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Checklist des top 5 des améliorations </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pour améliorer l’ergonomie et corriger les erreurs d’implémentation </a:t>
            </a:r>
          </a:p>
          <a:p>
            <a:pPr marL="285750" marR="0" lvl="0" indent="-285750" algn="l" defTabSz="914400" rtl="0" eaLnBrk="0" fontAlgn="base" latinLnBrk="0" hangingPunct="0">
              <a:lnSpc>
                <a:spcPct val="100000"/>
              </a:lnSpc>
              <a:spcBef>
                <a:spcPts val="400"/>
              </a:spcBef>
              <a:spcAft>
                <a:spcPts val="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cs typeface="Arial"/>
              </a:rPr>
              <a:t>Séquences de tests et d'amélioration auprès de panels de PS </a:t>
            </a:r>
          </a:p>
          <a:p>
            <a:pPr marL="285750" marR="0" lvl="0" indent="-285750" algn="l" defTabSz="914400" rtl="0" eaLnBrk="0" fontAlgn="base" latinLnBrk="0" hangingPunct="0">
              <a:lnSpc>
                <a:spcPct val="100000"/>
              </a:lnSpc>
              <a:spcBef>
                <a:spcPts val="400"/>
              </a:spcBef>
              <a:spcAft>
                <a:spcPts val="0"/>
              </a:spcAft>
              <a:buClr>
                <a:srgbClr val="000000"/>
              </a:buClr>
              <a:buSzPts val="1800"/>
              <a:buFont typeface="Arial"/>
              <a:buChar char="•"/>
              <a:tabLst/>
              <a:defRPr/>
            </a:pP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Mobilisation et formation de DNS experts</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 pour mieux appuyer les professionnels de santé </a:t>
            </a:r>
          </a:p>
        </p:txBody>
      </p:sp>
      <p:sp>
        <p:nvSpPr>
          <p:cNvPr id="13" name="Rectangle 12">
            <a:extLst>
              <a:ext uri="{FF2B5EF4-FFF2-40B4-BE49-F238E27FC236}">
                <a16:creationId xmlns:a16="http://schemas.microsoft.com/office/drawing/2014/main" id="{5D78B2C3-0E33-0229-E54F-3033A2EBFD20}"/>
              </a:ext>
            </a:extLst>
          </p:cNvPr>
          <p:cNvSpPr/>
          <p:nvPr/>
        </p:nvSpPr>
        <p:spPr>
          <a:xfrm>
            <a:off x="4305670" y="1128693"/>
            <a:ext cx="7466929" cy="3783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300"/>
              </a:spcBef>
              <a:spcAft>
                <a:spcPts val="300"/>
              </a:spcAft>
              <a:buClrTx/>
              <a:buSzTx/>
              <a:buFontTx/>
              <a:buNone/>
              <a:tabLst/>
              <a:defRPr/>
            </a:pPr>
            <a:r>
              <a:rPr kumimoji="0" lang="fr-FR" sz="1400" b="1" i="0" u="none" strike="noStrike" kern="1200" cap="none" spc="0" normalizeH="0" baseline="0" noProof="0">
                <a:ln>
                  <a:noFill/>
                </a:ln>
                <a:solidFill>
                  <a:srgbClr val="FFFFFF"/>
                </a:solidFill>
                <a:effectLst/>
                <a:uLnTx/>
                <a:uFillTx/>
                <a:latin typeface="Arial"/>
                <a:ea typeface="+mn-ea"/>
                <a:cs typeface="+mn-cs"/>
              </a:rPr>
              <a:t>Les actions mises en place par Sentinelle</a:t>
            </a:r>
          </a:p>
        </p:txBody>
      </p:sp>
      <p:sp>
        <p:nvSpPr>
          <p:cNvPr id="2" name="Rectangle 1">
            <a:extLst>
              <a:ext uri="{FF2B5EF4-FFF2-40B4-BE49-F238E27FC236}">
                <a16:creationId xmlns:a16="http://schemas.microsoft.com/office/drawing/2014/main" id="{AEC1C08E-6BD3-CBF8-6EEA-789FD4CD7C90}"/>
              </a:ext>
            </a:extLst>
          </p:cNvPr>
          <p:cNvSpPr/>
          <p:nvPr/>
        </p:nvSpPr>
        <p:spPr>
          <a:xfrm>
            <a:off x="73153" y="1128693"/>
            <a:ext cx="4090474" cy="378366"/>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300"/>
              </a:spcBef>
              <a:spcAft>
                <a:spcPts val="300"/>
              </a:spcAft>
              <a:buClrTx/>
              <a:buSzTx/>
              <a:buFontTx/>
              <a:buNone/>
              <a:tabLst/>
              <a:defRPr/>
            </a:pPr>
            <a:r>
              <a:rPr kumimoji="0" lang="fr-FR" sz="1400" b="1" i="0" u="none" strike="noStrike" kern="1200" cap="none" spc="0" normalizeH="0" baseline="0" noProof="0">
                <a:ln>
                  <a:noFill/>
                </a:ln>
                <a:solidFill>
                  <a:srgbClr val="FFFFFF"/>
                </a:solidFill>
                <a:effectLst/>
                <a:uLnTx/>
                <a:uFillTx/>
                <a:latin typeface="Arial"/>
                <a:ea typeface="+mn-ea"/>
                <a:cs typeface="+mn-cs"/>
              </a:rPr>
              <a:t>Les freins terrains remontés à travers Sentinelle</a:t>
            </a:r>
          </a:p>
        </p:txBody>
      </p:sp>
      <p:sp>
        <p:nvSpPr>
          <p:cNvPr id="3" name="Rectangle 2">
            <a:extLst>
              <a:ext uri="{FF2B5EF4-FFF2-40B4-BE49-F238E27FC236}">
                <a16:creationId xmlns:a16="http://schemas.microsoft.com/office/drawing/2014/main" id="{D208D9C5-006A-FA01-6B26-6037887C7EF5}"/>
              </a:ext>
            </a:extLst>
          </p:cNvPr>
          <p:cNvSpPr/>
          <p:nvPr/>
        </p:nvSpPr>
        <p:spPr>
          <a:xfrm>
            <a:off x="87141" y="4240147"/>
            <a:ext cx="4060006" cy="1454688"/>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fr-FR" sz="1500" b="1" i="1" u="sng" strike="noStrike" kern="1200" cap="none" spc="0" normalizeH="0" baseline="0" noProof="0">
                <a:ln>
                  <a:noFill/>
                </a:ln>
                <a:solidFill>
                  <a:srgbClr val="000000"/>
                </a:solidFill>
                <a:effectLst/>
                <a:uLnTx/>
                <a:uFillTx/>
                <a:latin typeface="Arial"/>
                <a:ea typeface="Arial"/>
                <a:cs typeface="Arial"/>
                <a:sym typeface="Arial"/>
              </a:rPr>
              <a:t>L’INS patients n’est que rarement qualifiée</a:t>
            </a:r>
            <a:endParaRPr kumimoji="0" lang="fr-FR" sz="1500" b="0" i="0" u="none" strike="noStrike" kern="1200" cap="none" spc="0" normalizeH="0" baseline="0" noProof="0">
              <a:ln>
                <a:noFill/>
              </a:ln>
              <a:solidFill>
                <a:srgbClr val="FFFFFF"/>
              </a:solidFill>
              <a:effectLst/>
              <a:uLnTx/>
              <a:uFillTx/>
              <a:latin typeface="Arial"/>
            </a:endParaRPr>
          </a:p>
          <a:p>
            <a:pPr marL="628650" marR="0" lvl="1" indent="-171450" algn="l" defTabSz="914400" rtl="0" eaLnBrk="0" fontAlgn="base" latinLnBrk="0" hangingPunct="0">
              <a:lnSpc>
                <a:spcPct val="100000"/>
              </a:lnSpc>
              <a:spcBef>
                <a:spcPts val="200"/>
              </a:spcBef>
              <a:spcAft>
                <a:spcPts val="20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Processus à simplifier et à adapter</a:t>
            </a:r>
          </a:p>
          <a:p>
            <a:pPr marL="628650" marR="0" lvl="1" indent="-171450" algn="l" defTabSz="914400" rtl="0" eaLnBrk="0" fontAlgn="base" latinLnBrk="0" hangingPunct="0">
              <a:lnSpc>
                <a:spcPct val="100000"/>
              </a:lnSpc>
              <a:spcBef>
                <a:spcPts val="200"/>
              </a:spcBef>
              <a:spcAft>
                <a:spcPts val="200"/>
              </a:spcAft>
              <a:buClr>
                <a:srgbClr val="000000"/>
              </a:buClr>
              <a:buSzPts val="18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Délégation de cette mission au secrétariat compliquée ou impossible à faire </a:t>
            </a:r>
            <a:endParaRPr kumimoji="0" lang="fr-FR" sz="1400" b="0" i="0" u="none" strike="noStrike" kern="1200" cap="none" spc="0" normalizeH="0" baseline="0" noProof="0">
              <a:ln>
                <a:noFill/>
              </a:ln>
              <a:solidFill>
                <a:srgbClr val="FFFFFF"/>
              </a:solidFill>
              <a:effectLst/>
              <a:uLnTx/>
              <a:uFillTx/>
              <a:latin typeface="Arial"/>
            </a:endParaRPr>
          </a:p>
        </p:txBody>
      </p:sp>
      <p:sp>
        <p:nvSpPr>
          <p:cNvPr id="5" name="Google Shape;4778;p7">
            <a:extLst>
              <a:ext uri="{FF2B5EF4-FFF2-40B4-BE49-F238E27FC236}">
                <a16:creationId xmlns:a16="http://schemas.microsoft.com/office/drawing/2014/main" id="{C53353A0-2BE6-1C5B-0EB6-F7CC3303EA36}"/>
              </a:ext>
            </a:extLst>
          </p:cNvPr>
          <p:cNvSpPr/>
          <p:nvPr/>
        </p:nvSpPr>
        <p:spPr>
          <a:xfrm>
            <a:off x="4305670" y="4240147"/>
            <a:ext cx="7466929" cy="1363793"/>
          </a:xfrm>
          <a:prstGeom prst="roundRect">
            <a:avLst>
              <a:gd name="adj" fmla="val 7077"/>
            </a:avLst>
          </a:prstGeom>
          <a:solidFill>
            <a:srgbClr val="F2F2F2"/>
          </a:solidFill>
          <a:ln>
            <a:noFill/>
          </a:ln>
        </p:spPr>
        <p:txBody>
          <a:bodyPr spcFirstLastPara="1" wrap="square" lIns="91425" tIns="45700" rIns="91425" bIns="45700" anchor="ctr" anchorCtr="0">
            <a:no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285750" marR="0" lvl="0" indent="-279400" algn="l" defTabSz="914400" rtl="0" eaLnBrk="0" fontAlgn="base" latinLnBrk="0" hangingPunct="0">
              <a:lnSpc>
                <a:spcPct val="100000"/>
              </a:lnSpc>
              <a:spcBef>
                <a:spcPts val="400"/>
              </a:spcBef>
              <a:spcAft>
                <a:spcPts val="0"/>
              </a:spcAft>
              <a:buClr>
                <a:srgbClr val="000000"/>
              </a:buClr>
              <a:buSzPts val="17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Adoption d’une</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 procédure d’exception </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de qualification pour les professionnels de santé libéraux en situation de qualifier des patients déjà bien connus</a:t>
            </a:r>
            <a:endParaRPr kumimoji="0" lang="fr-FR" sz="1400" b="0" i="0" u="none" strike="noStrike" kern="1200" cap="none" spc="0" normalizeH="0" baseline="0" noProof="0">
              <a:ln>
                <a:noFill/>
              </a:ln>
              <a:solidFill>
                <a:srgbClr val="000000"/>
              </a:solidFill>
              <a:effectLst/>
              <a:uLnTx/>
              <a:uFillTx/>
              <a:latin typeface="Arial"/>
            </a:endParaRPr>
          </a:p>
          <a:p>
            <a:pPr marL="285750" marR="0" lvl="0" indent="-279400" algn="l" defTabSz="914400" rtl="0" eaLnBrk="0" fontAlgn="base" latinLnBrk="0" hangingPunct="0">
              <a:lnSpc>
                <a:spcPct val="100000"/>
              </a:lnSpc>
              <a:spcBef>
                <a:spcPts val="400"/>
              </a:spcBef>
              <a:spcAft>
                <a:spcPts val="400"/>
              </a:spcAft>
              <a:buClr>
                <a:srgbClr val="000000"/>
              </a:buClr>
              <a:buSzPts val="1700"/>
              <a:buFont typeface="Arial"/>
              <a:buChar char="•"/>
              <a:tabLst/>
              <a:defRPr/>
            </a:pP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Un plan de déploiement des CPE nominative en tant que moyen de délégation à court-terme</a:t>
            </a:r>
            <a:endParaRPr kumimoji="0" sz="1400" b="0" i="0" u="none" strike="noStrike" kern="1200" cap="none" spc="0" normalizeH="0" baseline="0" noProof="0">
              <a:ln>
                <a:noFill/>
              </a:ln>
              <a:solidFill>
                <a:srgbClr val="FFFFFF"/>
              </a:solidFill>
              <a:effectLst/>
              <a:uLnTx/>
              <a:uFillTx/>
              <a:latin typeface="Arial"/>
              <a:ea typeface="Calibri"/>
              <a:cs typeface="Calibri"/>
              <a:sym typeface="Calibri"/>
            </a:endParaRPr>
          </a:p>
        </p:txBody>
      </p:sp>
      <p:sp>
        <p:nvSpPr>
          <p:cNvPr id="6" name="Rectangle 5">
            <a:extLst>
              <a:ext uri="{FF2B5EF4-FFF2-40B4-BE49-F238E27FC236}">
                <a16:creationId xmlns:a16="http://schemas.microsoft.com/office/drawing/2014/main" id="{E5CDFC22-A152-6DE1-1127-5AF210ECE131}"/>
              </a:ext>
            </a:extLst>
          </p:cNvPr>
          <p:cNvSpPr/>
          <p:nvPr/>
        </p:nvSpPr>
        <p:spPr>
          <a:xfrm>
            <a:off x="87141" y="5825869"/>
            <a:ext cx="4060006" cy="959307"/>
          </a:xfrm>
          <a:prstGeom prst="rect">
            <a:avLst/>
          </a:prstGeom>
          <a:solidFill>
            <a:schemeClr val="accent1">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0"/>
              </a:spcBef>
              <a:spcAft>
                <a:spcPts val="0"/>
              </a:spcAft>
              <a:buClrTx/>
              <a:buSzTx/>
              <a:buFontTx/>
              <a:buNone/>
              <a:tabLst/>
              <a:defRPr/>
            </a:pPr>
            <a:r>
              <a:rPr kumimoji="0" lang="fr-FR" sz="1500" b="1" i="1" u="sng" strike="noStrike" kern="1200" cap="none" spc="0" normalizeH="0" baseline="0" noProof="0">
                <a:ln>
                  <a:noFill/>
                </a:ln>
                <a:solidFill>
                  <a:srgbClr val="000000"/>
                </a:solidFill>
                <a:effectLst/>
                <a:uLnTx/>
                <a:uFillTx/>
                <a:latin typeface="Arial"/>
                <a:ea typeface="Arial"/>
                <a:cs typeface="Arial"/>
                <a:sym typeface="Arial"/>
              </a:rPr>
              <a:t>Un niveau de connaissance et d’appropriation de l’INS, DMP/MES et MSS à renforcer</a:t>
            </a:r>
            <a:endParaRPr kumimoji="0" lang="fr-FR" sz="1500" b="0" i="0" u="none" strike="noStrike" kern="1200" cap="none" spc="0" normalizeH="0" baseline="0" noProof="0">
              <a:ln>
                <a:noFill/>
              </a:ln>
              <a:solidFill>
                <a:srgbClr val="FFFFFF"/>
              </a:solidFill>
              <a:effectLst/>
              <a:uLnTx/>
              <a:uFillTx/>
              <a:latin typeface="Arial"/>
            </a:endParaRPr>
          </a:p>
        </p:txBody>
      </p:sp>
      <p:sp>
        <p:nvSpPr>
          <p:cNvPr id="7" name="Google Shape;4778;p7">
            <a:extLst>
              <a:ext uri="{FF2B5EF4-FFF2-40B4-BE49-F238E27FC236}">
                <a16:creationId xmlns:a16="http://schemas.microsoft.com/office/drawing/2014/main" id="{AECDDB44-8408-01B5-0D52-1901CA56B8F5}"/>
              </a:ext>
            </a:extLst>
          </p:cNvPr>
          <p:cNvSpPr/>
          <p:nvPr/>
        </p:nvSpPr>
        <p:spPr>
          <a:xfrm>
            <a:off x="4305670" y="5790436"/>
            <a:ext cx="7466929" cy="994741"/>
          </a:xfrm>
          <a:prstGeom prst="roundRect">
            <a:avLst>
              <a:gd name="adj" fmla="val 7077"/>
            </a:avLst>
          </a:prstGeom>
          <a:solidFill>
            <a:srgbClr val="F2F2F2"/>
          </a:solidFill>
          <a:ln>
            <a:noFill/>
          </a:ln>
        </p:spPr>
        <p:txBody>
          <a:bodyPr spcFirstLastPara="1" wrap="square" lIns="91425" tIns="45700" rIns="91425" bIns="45700" anchor="ctr" anchorCtr="0">
            <a:no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449580" marR="0" lvl="1" indent="-279400" algn="l" defTabSz="914400" rtl="0" eaLnBrk="0" fontAlgn="base" latinLnBrk="0" hangingPunct="0">
              <a:lnSpc>
                <a:spcPct val="100000"/>
              </a:lnSpc>
              <a:spcBef>
                <a:spcPts val="200"/>
              </a:spcBef>
              <a:spcAft>
                <a:spcPts val="0"/>
              </a:spcAft>
              <a:buClr>
                <a:srgbClr val="000000"/>
              </a:buClr>
              <a:buSzPts val="1700"/>
              <a:buFont typeface="Arial"/>
              <a:buChar char="•"/>
              <a:tabLst/>
              <a:defRPr/>
            </a:pP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Communication directe auprès des professionnels de santé</a:t>
            </a:r>
            <a:r>
              <a:rPr kumimoji="0" lang="fr-FR" sz="1400" b="0" i="0" u="none" strike="noStrike" kern="1200" cap="none" spc="0" normalizeH="0" baseline="0" noProof="0">
                <a:ln>
                  <a:noFill/>
                </a:ln>
                <a:solidFill>
                  <a:srgbClr val="000000"/>
                </a:solidFill>
                <a:effectLst/>
                <a:uLnTx/>
                <a:uFillTx/>
                <a:latin typeface="Arial"/>
                <a:cs typeface="Calibri"/>
              </a:rPr>
              <a:t> </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Osmose) </a:t>
            </a:r>
            <a:endParaRPr kumimoji="0" lang="fr-FR" sz="1400" b="1" i="0" u="none" strike="noStrike" kern="1200" cap="none" spc="0" normalizeH="0" baseline="0" noProof="0">
              <a:ln>
                <a:noFill/>
              </a:ln>
              <a:solidFill>
                <a:srgbClr val="000000"/>
              </a:solidFill>
              <a:effectLst/>
              <a:uLnTx/>
              <a:uFillTx/>
              <a:latin typeface="Arial"/>
            </a:endParaRPr>
          </a:p>
          <a:p>
            <a:pPr marL="449580" marR="0" lvl="1" indent="-279400" algn="l" defTabSz="914400" rtl="0" eaLnBrk="0" fontAlgn="base" latinLnBrk="0" hangingPunct="0">
              <a:lnSpc>
                <a:spcPct val="100000"/>
              </a:lnSpc>
              <a:spcBef>
                <a:spcPts val="200"/>
              </a:spcBef>
              <a:spcAft>
                <a:spcPts val="0"/>
              </a:spcAft>
              <a:buClr>
                <a:srgbClr val="000000"/>
              </a:buClr>
              <a:buSzPts val="1700"/>
              <a:buFont typeface="Arial"/>
              <a:buChar char="•"/>
              <a:tabLst/>
              <a:defRPr/>
            </a:pP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Mobilisation </a:t>
            </a:r>
            <a:r>
              <a:rPr kumimoji="0" lang="fr-FR" sz="1400" b="1" i="0" u="none" strike="noStrike" kern="1200" cap="none" spc="0" normalizeH="0" baseline="0" noProof="0">
                <a:ln>
                  <a:noFill/>
                </a:ln>
                <a:solidFill>
                  <a:srgbClr val="000000"/>
                </a:solidFill>
                <a:effectLst/>
                <a:uLnTx/>
                <a:uFillTx/>
                <a:latin typeface="Arial"/>
                <a:cs typeface="Calibri"/>
              </a:rPr>
              <a:t>++ </a:t>
            </a:r>
            <a:r>
              <a:rPr kumimoji="0" lang="fr-FR" sz="1400" b="1" i="0" u="none" strike="noStrike" kern="1200" cap="none" spc="0" normalizeH="0" baseline="0" noProof="0">
                <a:ln>
                  <a:noFill/>
                </a:ln>
                <a:solidFill>
                  <a:srgbClr val="000000"/>
                </a:solidFill>
                <a:effectLst/>
                <a:uLnTx/>
                <a:uFillTx/>
                <a:latin typeface="Arial"/>
                <a:ea typeface="Arial"/>
                <a:cs typeface="Arial"/>
                <a:sym typeface="Arial"/>
              </a:rPr>
              <a:t>des DNS auprès des PS</a:t>
            </a:r>
            <a:r>
              <a:rPr kumimoji="0" lang="fr-FR" sz="1400" b="0" i="0" u="none" strike="noStrike" kern="1200" cap="none" spc="0" normalizeH="0" baseline="0" noProof="0">
                <a:ln>
                  <a:noFill/>
                </a:ln>
                <a:solidFill>
                  <a:srgbClr val="000000"/>
                </a:solidFill>
                <a:effectLst/>
                <a:uLnTx/>
                <a:uFillTx/>
                <a:latin typeface="Arial"/>
                <a:ea typeface="Arial"/>
                <a:cs typeface="Arial"/>
                <a:sym typeface="Arial"/>
              </a:rPr>
              <a:t> pour les accompagner et les sensibiliser aux enjeux DMP/MES, INS et MSS et nouvelles versions logicielles en s’appuyant sur un dispositif renforcé de formation et d’outillage</a:t>
            </a:r>
            <a:endParaRPr kumimoji="0" lang="fr-FR" sz="1400" b="0" i="0" u="none" strike="noStrike" kern="1200" cap="none" spc="0" normalizeH="0" baseline="0" noProof="0">
              <a:ln>
                <a:noFill/>
              </a:ln>
              <a:solidFill>
                <a:srgbClr val="000000"/>
              </a:solidFill>
              <a:effectLst/>
              <a:uLnTx/>
              <a:uFillTx/>
              <a:latin typeface="Arial"/>
              <a:cs typeface="Calibri" panose="020F0502020204030204" pitchFamily="34" charset="0"/>
            </a:endParaRPr>
          </a:p>
        </p:txBody>
      </p:sp>
      <p:sp>
        <p:nvSpPr>
          <p:cNvPr id="12" name="Espace réservé du texte 1"/>
          <p:cNvSpPr txBox="1">
            <a:spLocks/>
          </p:cNvSpPr>
          <p:nvPr/>
        </p:nvSpPr>
        <p:spPr>
          <a:xfrm>
            <a:off x="310896" y="227217"/>
            <a:ext cx="9966960" cy="57620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ct val="0"/>
              </a:spcBef>
              <a:buFont typeface="Arial" panose="020B0604020202020204" pitchFamily="34" charset="0"/>
              <a:buNone/>
              <a:defRPr lang="fr-FR" sz="1600" b="1" kern="1200" dirty="0">
                <a:solidFill>
                  <a:srgbClr val="6F7072"/>
                </a:solidFill>
                <a:latin typeface="Arial" panose="020B0604020202020204" pitchFamily="34" charset="0"/>
                <a:ea typeface="+mj-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800"/>
              <a:t>La démarche sentinelle, pour suivre au plus près le développement des usages et répondre aux problématiques terrain, notamment en Médecine de ville</a:t>
            </a:r>
          </a:p>
        </p:txBody>
      </p:sp>
    </p:spTree>
    <p:extLst>
      <p:ext uri="{BB962C8B-B14F-4D97-AF65-F5344CB8AC3E}">
        <p14:creationId xmlns:p14="http://schemas.microsoft.com/office/powerpoint/2010/main" val="10173569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3944586" y="716882"/>
            <a:ext cx="7582396" cy="304800"/>
          </a:xfrm>
        </p:spPr>
        <p:txBody>
          <a:bodyPr vert="horz" lIns="91440" tIns="45720" rIns="91440" bIns="45720" rtlCol="0">
            <a:noAutofit/>
          </a:bodyPr>
          <a:lstStyle/>
          <a:p>
            <a:r>
              <a:rPr lang="fr-FR" sz="1800"/>
              <a:t> Les travaux du Ségur numérique s’élargissent à de nouvelles professions</a:t>
            </a:r>
          </a:p>
        </p:txBody>
      </p:sp>
      <p:sp>
        <p:nvSpPr>
          <p:cNvPr id="4" name="Rectangle 3"/>
          <p:cNvSpPr/>
          <p:nvPr/>
        </p:nvSpPr>
        <p:spPr>
          <a:xfrm>
            <a:off x="314915" y="1302347"/>
            <a:ext cx="10429285" cy="1569660"/>
          </a:xfrm>
          <a:prstGeom prst="rect">
            <a:avLst/>
          </a:prstGeom>
        </p:spPr>
        <p:txBody>
          <a:bodyPr wrap="square">
            <a:spAutoFit/>
          </a:bodyPr>
          <a:lstStyle/>
          <a:p>
            <a:pPr marL="0" lvl="1">
              <a:defRPr/>
            </a:pPr>
            <a:r>
              <a:rPr lang="fr-FR" b="1">
                <a:solidFill>
                  <a:srgbClr val="005CA9"/>
                </a:solidFill>
                <a:latin typeface="Arial"/>
                <a:ea typeface="Geneva" charset="-128"/>
                <a:cs typeface="Arial" panose="020B0604020202020204" pitchFamily="34" charset="0"/>
              </a:rPr>
              <a:t>Infirmiers, Chirurgiens-dentistes, Masseurs-kinésithérapeutes, Orthophonistes, Orthoptistes, Sages-femmes</a:t>
            </a:r>
          </a:p>
          <a:p>
            <a:pPr marL="0" lvl="1">
              <a:defRPr/>
            </a:pPr>
            <a:endParaRPr lang="fr-FR" b="1">
              <a:solidFill>
                <a:srgbClr val="005CA9"/>
              </a:solidFill>
              <a:latin typeface="Arial"/>
              <a:ea typeface="Geneva" charset="-128"/>
              <a:cs typeface="Arial" panose="020B0604020202020204" pitchFamily="34" charset="0"/>
            </a:endParaRPr>
          </a:p>
          <a:p>
            <a:pPr marL="0" marR="0" lvl="1" indent="0" algn="l" defTabSz="914378"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E5E5E"/>
                </a:solidFill>
                <a:effectLst/>
                <a:uLnTx/>
                <a:uFillTx/>
                <a:latin typeface="Helvetica Neue"/>
              </a:rPr>
              <a:t>Ambitions des évolutions logicielles :</a:t>
            </a:r>
          </a:p>
          <a:p>
            <a:pPr marL="342900" marR="0" lvl="1" indent="-34290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5E5E5E"/>
                </a:solidFill>
                <a:effectLst/>
                <a:uLnTx/>
                <a:uFillTx/>
                <a:latin typeface="Helvetica Neue"/>
              </a:rPr>
              <a:t>Simplifier l’échange de documents nécessaires à la coordination des soins</a:t>
            </a:r>
          </a:p>
          <a:p>
            <a:pPr marL="342900" marR="0" lvl="1" indent="-34290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srgbClr val="5E5E5E"/>
                </a:solidFill>
                <a:effectLst/>
                <a:uLnTx/>
                <a:uFillTx/>
                <a:latin typeface="Helvetica Neue"/>
              </a:rPr>
              <a:t>Intégrer les services socles</a:t>
            </a:r>
          </a:p>
        </p:txBody>
      </p:sp>
      <p:sp>
        <p:nvSpPr>
          <p:cNvPr id="6" name="Rectangle 5">
            <a:extLst>
              <a:ext uri="{FF2B5EF4-FFF2-40B4-BE49-F238E27FC236}">
                <a16:creationId xmlns:a16="http://schemas.microsoft.com/office/drawing/2014/main" id="{7224C52C-3F2A-F0A9-6729-892E1A81921E}"/>
              </a:ext>
            </a:extLst>
          </p:cNvPr>
          <p:cNvSpPr/>
          <p:nvPr/>
        </p:nvSpPr>
        <p:spPr>
          <a:xfrm>
            <a:off x="314915" y="4985914"/>
            <a:ext cx="11747776" cy="1200329"/>
          </a:xfrm>
          <a:prstGeom prst="rect">
            <a:avLst/>
          </a:prstGeom>
        </p:spPr>
        <p:txBody>
          <a:bodyPr wrap="square">
            <a:spAutoFit/>
          </a:bodyPr>
          <a:lstStyle/>
          <a:p>
            <a:pPr marL="0" marR="0" lvl="1" indent="0" algn="l" defTabSz="914378"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5CA9"/>
                </a:solidFill>
                <a:effectLst/>
                <a:uLnTx/>
                <a:uFillTx/>
                <a:latin typeface="Arial"/>
                <a:ea typeface="Geneva" charset="-128"/>
                <a:cs typeface="Arial" panose="020B0604020202020204" pitchFamily="34" charset="0"/>
              </a:rPr>
              <a:t>Des travaux lancés en janvier 2023 pour aboutir</a:t>
            </a:r>
            <a:r>
              <a:rPr kumimoji="0" lang="fr-FR" sz="1600" b="1" i="0" u="none" strike="noStrike" kern="1200" cap="none" spc="0" normalizeH="0" noProof="0">
                <a:ln>
                  <a:noFill/>
                </a:ln>
                <a:solidFill>
                  <a:srgbClr val="005CA9"/>
                </a:solidFill>
                <a:effectLst/>
                <a:uLnTx/>
                <a:uFillTx/>
                <a:latin typeface="Arial"/>
                <a:ea typeface="Geneva" charset="-128"/>
                <a:cs typeface="Arial" panose="020B0604020202020204" pitchFamily="34" charset="0"/>
              </a:rPr>
              <a:t> à un référencement des logiciels à partir de mi 2024</a:t>
            </a:r>
            <a:r>
              <a:rPr kumimoji="0" lang="fr-FR" sz="1600" b="1" i="0" u="none" strike="noStrike" kern="1200" cap="none" spc="0" normalizeH="0" baseline="0" noProof="0">
                <a:ln>
                  <a:noFill/>
                </a:ln>
                <a:solidFill>
                  <a:srgbClr val="005CA9"/>
                </a:solidFill>
                <a:effectLst/>
                <a:uLnTx/>
                <a:uFillTx/>
                <a:latin typeface="Arial"/>
                <a:ea typeface="Geneva" charset="-128"/>
                <a:cs typeface="Arial" panose="020B0604020202020204" pitchFamily="34" charset="0"/>
              </a:rPr>
              <a:t>  ✅</a:t>
            </a:r>
          </a:p>
          <a:p>
            <a:pPr marL="0" marR="0" lvl="1" indent="0" algn="l" defTabSz="914378"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5E5E5E"/>
                </a:solidFill>
                <a:effectLst/>
                <a:uLnTx/>
                <a:uFillTx/>
                <a:latin typeface="Helvetica Neue"/>
              </a:rPr>
              <a:t>Des </a:t>
            </a:r>
            <a:r>
              <a:rPr kumimoji="0" lang="fr-FR" sz="1400" b="1" i="0" u="none" strike="noStrike" kern="1200" cap="none" spc="0" normalizeH="0" baseline="0" noProof="0">
                <a:ln>
                  <a:noFill/>
                </a:ln>
                <a:solidFill>
                  <a:srgbClr val="5E5E5E"/>
                </a:solidFill>
                <a:effectLst/>
                <a:uLnTx/>
                <a:uFillTx/>
                <a:latin typeface="Helvetica Neue"/>
              </a:rPr>
              <a:t>ateliers de travail itératifs planifiés en 3 cycles </a:t>
            </a:r>
            <a:r>
              <a:rPr kumimoji="0" lang="fr-FR" sz="1400" b="0" i="0" u="none" strike="noStrike" kern="1200" cap="none" spc="0" normalizeH="0" baseline="0" noProof="0">
                <a:ln>
                  <a:noFill/>
                </a:ln>
                <a:solidFill>
                  <a:srgbClr val="5E5E5E"/>
                </a:solidFill>
                <a:effectLst/>
                <a:uLnTx/>
                <a:uFillTx/>
                <a:latin typeface="Helvetica Neue"/>
              </a:rPr>
              <a:t>avec les représentants métiers et les éditeurs, pour définir :</a:t>
            </a:r>
          </a:p>
          <a:p>
            <a:pPr marL="742950" lvl="2" indent="-285750" defTabSz="914378">
              <a:buFont typeface="Arial" panose="020B0604020202020204" pitchFamily="34" charset="0"/>
              <a:buChar char="•"/>
              <a:defRPr/>
            </a:pPr>
            <a:r>
              <a:rPr kumimoji="0" lang="fr-FR" sz="1400" b="0" i="0" u="none" strike="noStrike" kern="1200" cap="none" spc="0" normalizeH="0" baseline="0" noProof="0">
                <a:ln>
                  <a:noFill/>
                </a:ln>
                <a:solidFill>
                  <a:srgbClr val="5E5E5E"/>
                </a:solidFill>
                <a:effectLst/>
                <a:uLnTx/>
                <a:uFillTx/>
                <a:latin typeface="Helvetica Neue"/>
              </a:rPr>
              <a:t>les usages et documents à partager et à consulter</a:t>
            </a:r>
          </a:p>
          <a:p>
            <a:pPr marL="742950" lvl="2" indent="-285750" defTabSz="914378">
              <a:buFont typeface="Arial" panose="020B0604020202020204" pitchFamily="34" charset="0"/>
              <a:buChar char="•"/>
              <a:defRPr/>
            </a:pPr>
            <a:r>
              <a:rPr kumimoji="0" lang="fr-FR" sz="1400" b="0" i="0" u="none" strike="noStrike" kern="1200" cap="none" spc="0" normalizeH="0" baseline="0" noProof="0">
                <a:ln>
                  <a:noFill/>
                </a:ln>
                <a:solidFill>
                  <a:srgbClr val="5E5E5E"/>
                </a:solidFill>
                <a:effectLst/>
                <a:uLnTx/>
                <a:uFillTx/>
                <a:latin typeface="Helvetica Neue"/>
              </a:rPr>
              <a:t>les exigences d’évolution des logiciels</a:t>
            </a:r>
          </a:p>
          <a:p>
            <a:pPr marL="742950" lvl="2" indent="-285750" defTabSz="914378">
              <a:buFont typeface="Arial" panose="020B0604020202020204" pitchFamily="34" charset="0"/>
              <a:buChar char="•"/>
              <a:defRPr/>
            </a:pPr>
            <a:r>
              <a:rPr kumimoji="0" lang="fr-FR" sz="1400" b="0" i="0" u="none" strike="noStrike" kern="1200" cap="none" spc="0" normalizeH="0" baseline="0" noProof="0">
                <a:ln>
                  <a:noFill/>
                </a:ln>
                <a:solidFill>
                  <a:srgbClr val="5E5E5E"/>
                </a:solidFill>
                <a:effectLst/>
                <a:uLnTx/>
                <a:uFillTx/>
                <a:latin typeface="Helvetica Neue"/>
              </a:rPr>
              <a:t>les modalités de financement</a:t>
            </a:r>
          </a:p>
        </p:txBody>
      </p:sp>
      <p:grpSp>
        <p:nvGrpSpPr>
          <p:cNvPr id="15" name="Groupe 14"/>
          <p:cNvGrpSpPr/>
          <p:nvPr/>
        </p:nvGrpSpPr>
        <p:grpSpPr>
          <a:xfrm>
            <a:off x="1843810" y="2971799"/>
            <a:ext cx="8227306" cy="1389889"/>
            <a:chOff x="2911899" y="3447365"/>
            <a:chExt cx="6144158" cy="1037970"/>
          </a:xfrm>
        </p:grpSpPr>
        <p:pic>
          <p:nvPicPr>
            <p:cNvPr id="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4321" y="3788070"/>
              <a:ext cx="421736" cy="429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38182" y="3889405"/>
              <a:ext cx="1141702" cy="35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e 9">
              <a:extLst>
                <a:ext uri="{FF2B5EF4-FFF2-40B4-BE49-F238E27FC236}">
                  <a16:creationId xmlns:a16="http://schemas.microsoft.com/office/drawing/2014/main" id="{8B6E55D1-5BB5-4856-8694-B8DD3901D356}"/>
                </a:ext>
              </a:extLst>
            </p:cNvPr>
            <p:cNvGrpSpPr/>
            <p:nvPr/>
          </p:nvGrpSpPr>
          <p:grpSpPr>
            <a:xfrm>
              <a:off x="2911899" y="3447365"/>
              <a:ext cx="4519418" cy="1037970"/>
              <a:chOff x="952455" y="4520415"/>
              <a:chExt cx="5309491" cy="1329825"/>
            </a:xfrm>
          </p:grpSpPr>
          <p:grpSp>
            <p:nvGrpSpPr>
              <p:cNvPr id="11" name="Groupe 10">
                <a:extLst>
                  <a:ext uri="{FF2B5EF4-FFF2-40B4-BE49-F238E27FC236}">
                    <a16:creationId xmlns:a16="http://schemas.microsoft.com/office/drawing/2014/main" id="{358EE626-E179-4B0F-961E-4909AAA0CB30}"/>
                  </a:ext>
                </a:extLst>
              </p:cNvPr>
              <p:cNvGrpSpPr/>
              <p:nvPr/>
            </p:nvGrpSpPr>
            <p:grpSpPr>
              <a:xfrm>
                <a:off x="952455" y="4520415"/>
                <a:ext cx="5309491" cy="1329825"/>
                <a:chOff x="156131" y="4797197"/>
                <a:chExt cx="5309495" cy="1329826"/>
              </a:xfrm>
            </p:grpSpPr>
            <p:sp>
              <p:nvSpPr>
                <p:cNvPr id="13" name="ZoneTexte 12">
                  <a:extLst>
                    <a:ext uri="{FF2B5EF4-FFF2-40B4-BE49-F238E27FC236}">
                      <a16:creationId xmlns:a16="http://schemas.microsoft.com/office/drawing/2014/main" id="{BD28B5A2-9F1D-437C-851C-0F9618D465D7}"/>
                    </a:ext>
                  </a:extLst>
                </p:cNvPr>
                <p:cNvSpPr txBox="1"/>
                <p:nvPr/>
              </p:nvSpPr>
              <p:spPr>
                <a:xfrm>
                  <a:off x="2099894" y="4797197"/>
                  <a:ext cx="3365732" cy="297869"/>
                </a:xfrm>
                <a:prstGeom prst="rect">
                  <a:avLst/>
                </a:prstGeom>
                <a:ln w="6350">
                  <a:noFill/>
                  <a:miter lim="800000"/>
                </a:ln>
              </p:spPr>
              <p:txBody>
                <a:bodyPr vert="horz" wrap="none" lIns="0" tIns="0" rIns="0" bIns="0" rtlCol="0">
                  <a:noAutofit/>
                </a:bodyPr>
                <a:lstStyle/>
                <a:p>
                  <a:pPr algn="ctr">
                    <a:spcBef>
                      <a:spcPts val="225"/>
                    </a:spcBef>
                    <a:spcAft>
                      <a:spcPts val="225"/>
                    </a:spcAft>
                  </a:pPr>
                  <a:r>
                    <a:rPr lang="fr-FR" sz="1600" b="1">
                      <a:latin typeface="+mn-lt"/>
                    </a:rPr>
                    <a:t>Référentiels et services socles impliqués</a:t>
                  </a:r>
                </a:p>
              </p:txBody>
            </p:sp>
            <p:pic>
              <p:nvPicPr>
                <p:cNvPr id="14" name="Image 10">
                  <a:extLst>
                    <a:ext uri="{FF2B5EF4-FFF2-40B4-BE49-F238E27FC236}">
                      <a16:creationId xmlns:a16="http://schemas.microsoft.com/office/drawing/2014/main" id="{C98B893A-F98F-426B-A57E-A95139CE0107}"/>
                    </a:ext>
                  </a:extLst>
                </p:cNvPr>
                <p:cNvPicPr>
                  <a:picLocks noChangeAspect="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l="10508" t="12812" r="3440" b="25952"/>
                <a:stretch/>
              </p:blipFill>
              <p:spPr>
                <a:xfrm>
                  <a:off x="156131" y="5106517"/>
                  <a:ext cx="5169891" cy="1020506"/>
                </a:xfrm>
                <a:prstGeom prst="rect">
                  <a:avLst/>
                </a:prstGeom>
              </p:spPr>
            </p:pic>
          </p:grpSp>
          <p:pic>
            <p:nvPicPr>
              <p:cNvPr id="12" name="Picture 2">
                <a:extLst>
                  <a:ext uri="{FF2B5EF4-FFF2-40B4-BE49-F238E27FC236}">
                    <a16:creationId xmlns:a16="http://schemas.microsoft.com/office/drawing/2014/main" id="{ABED60A6-38CC-4CB7-AD2C-B0C092D76A3A}"/>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895913" y="5068865"/>
                <a:ext cx="388211" cy="32682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24869967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 Quels usages pour les professionnels de santé ? </a:t>
            </a:r>
          </a:p>
        </p:txBody>
      </p:sp>
      <p:grpSp>
        <p:nvGrpSpPr>
          <p:cNvPr id="3" name="Groupe 2"/>
          <p:cNvGrpSpPr/>
          <p:nvPr/>
        </p:nvGrpSpPr>
        <p:grpSpPr>
          <a:xfrm>
            <a:off x="246639" y="1385455"/>
            <a:ext cx="5516851" cy="4521242"/>
            <a:chOff x="246639" y="1162223"/>
            <a:chExt cx="5516851" cy="4329815"/>
          </a:xfrm>
        </p:grpSpPr>
        <p:grpSp>
          <p:nvGrpSpPr>
            <p:cNvPr id="13" name="Groupe 12"/>
            <p:cNvGrpSpPr/>
            <p:nvPr/>
          </p:nvGrpSpPr>
          <p:grpSpPr>
            <a:xfrm>
              <a:off x="246639" y="1162223"/>
              <a:ext cx="5516851" cy="4329815"/>
              <a:chOff x="246639" y="1162223"/>
              <a:chExt cx="5516851" cy="4329815"/>
            </a:xfrm>
          </p:grpSpPr>
          <p:sp>
            <p:nvSpPr>
              <p:cNvPr id="14" name="Rectangle 13">
                <a:extLst>
                  <a:ext uri="{FF2B5EF4-FFF2-40B4-BE49-F238E27FC236}">
                    <a16:creationId xmlns:a16="http://schemas.microsoft.com/office/drawing/2014/main" id="{55980A56-F113-495C-8782-48A4E5C31278}"/>
                  </a:ext>
                </a:extLst>
              </p:cNvPr>
              <p:cNvSpPr/>
              <p:nvPr>
                <p:custDataLst>
                  <p:tags r:id="rId1"/>
                </p:custDataLst>
              </p:nvPr>
            </p:nvSpPr>
            <p:spPr>
              <a:xfrm>
                <a:off x="246639" y="1162223"/>
                <a:ext cx="5516851" cy="4325355"/>
              </a:xfrm>
              <a:prstGeom prst="rect">
                <a:avLst/>
              </a:prstGeom>
              <a:solidFill>
                <a:schemeClr val="accent3">
                  <a:lumMod val="20000"/>
                  <a:lumOff val="80000"/>
                  <a:alpha val="30196"/>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a:ln>
                      <a:noFill/>
                    </a:ln>
                    <a:solidFill>
                      <a:prstClr val="white"/>
                    </a:solidFill>
                    <a:effectLst/>
                    <a:uLnTx/>
                    <a:uFillTx/>
                  </a:rPr>
                  <a:t>&lt;</a:t>
                </a:r>
              </a:p>
            </p:txBody>
          </p:sp>
          <p:sp>
            <p:nvSpPr>
              <p:cNvPr id="15" name="ZoneTexte 1">
                <a:extLst>
                  <a:ext uri="{FF2B5EF4-FFF2-40B4-BE49-F238E27FC236}">
                    <a16:creationId xmlns:a16="http://schemas.microsoft.com/office/drawing/2014/main" id="{E967BB6D-6F45-4997-BDB6-5BFC37900150}"/>
                  </a:ext>
                </a:extLst>
              </p:cNvPr>
              <p:cNvSpPr txBox="1"/>
              <p:nvPr>
                <p:custDataLst>
                  <p:tags r:id="rId2"/>
                </p:custDataLst>
              </p:nvPr>
            </p:nvSpPr>
            <p:spPr>
              <a:xfrm>
                <a:off x="1022004" y="1737164"/>
                <a:ext cx="4565996" cy="3754874"/>
              </a:xfrm>
              <a:prstGeom prst="rect">
                <a:avLst/>
              </a:prstGeom>
              <a:noFill/>
              <a:ln>
                <a:noFill/>
              </a:ln>
            </p:spPr>
            <p:txBody>
              <a:bodyPr wrap="square" lIns="91440" tIns="45720" rIns="91440" bIns="45720" rtlCol="0" anchor="t">
                <a:spAutoFit/>
              </a:bodyPr>
              <a:lstStyle>
                <a:defPPr>
                  <a:defRPr lang="fr-FR"/>
                </a:defPPr>
                <a:lvl1pPr>
                  <a:defRPr sz="2200" b="1">
                    <a:solidFill>
                      <a:schemeClr val="bg1"/>
                    </a:solidFill>
                    <a:latin typeface="Arial" panose="020B0604020202020204" pitchFamily="34" charset="0"/>
                  </a:defRPr>
                </a:lvl1p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a:ln>
                      <a:noFill/>
                    </a:ln>
                    <a:solidFill>
                      <a:srgbClr val="DF2680"/>
                    </a:solidFill>
                    <a:effectLst/>
                    <a:uLnTx/>
                    <a:uFillTx/>
                    <a:latin typeface="+mn-lt"/>
                    <a:cs typeface="Calibri" panose="020F0502020204030204" pitchFamily="34" charset="0"/>
                  </a:rPr>
                  <a:t>déposer des documents </a:t>
                </a:r>
                <a:r>
                  <a:rPr kumimoji="0" lang="fr-FR" sz="1400" b="0" i="0" u="none" strike="noStrike" kern="0" cap="none" spc="0" normalizeH="0" baseline="0" noProof="0">
                    <a:ln>
                      <a:noFill/>
                    </a:ln>
                    <a:solidFill>
                      <a:srgbClr val="545859"/>
                    </a:solidFill>
                    <a:effectLst/>
                    <a:uLnTx/>
                    <a:uFillTx/>
                    <a:latin typeface="+mn-lt"/>
                    <a:cs typeface="Calibri" panose="020F0502020204030204" pitchFamily="34" charset="0"/>
                  </a:rPr>
                  <a:t>(comptes-rendus de biologie, Volet de Synthèse Médicale, CR de radiologie, etc.) via leur logiciel métier ou le site dmp.fr.</a:t>
                </a: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fr-FR" sz="1400" b="0" i="0" u="none" strike="noStrike" kern="0" cap="none" spc="0" normalizeH="0" baseline="0" noProof="0">
                  <a:ln>
                    <a:noFill/>
                  </a:ln>
                  <a:solidFill>
                    <a:srgbClr val="545859"/>
                  </a:solidFill>
                  <a:effectLst/>
                  <a:uLnTx/>
                  <a:uFillTx/>
                  <a:latin typeface="+mn-lt"/>
                  <a:cs typeface="Calibri" panose="020F0502020204030204" pitchFamily="34" charset="0"/>
                </a:endParaRPr>
              </a:p>
              <a:p>
                <a:pPr lvl="0">
                  <a:defRPr/>
                </a:pPr>
                <a:r>
                  <a:rPr lang="fr-FR" sz="1400" kern="0">
                    <a:solidFill>
                      <a:srgbClr val="DF2680"/>
                    </a:solidFill>
                    <a:latin typeface="+mn-lt"/>
                    <a:cs typeface="Calibri" panose="020F0502020204030204" pitchFamily="34" charset="0"/>
                  </a:rPr>
                  <a:t>consulter</a:t>
                </a:r>
                <a:r>
                  <a:rPr kumimoji="0" lang="fr-FR" sz="1400" i="0" u="none" strike="noStrike" kern="0" cap="none" spc="0" normalizeH="0" baseline="0" noProof="0">
                    <a:ln>
                      <a:noFill/>
                    </a:ln>
                    <a:solidFill>
                      <a:srgbClr val="DF2680"/>
                    </a:solidFill>
                    <a:effectLst/>
                    <a:uLnTx/>
                    <a:uFillTx/>
                    <a:latin typeface="+mn-lt"/>
                    <a:cs typeface="Calibri" panose="020F0502020204030204" pitchFamily="34" charset="0"/>
                  </a:rPr>
                  <a:t> les documents</a:t>
                </a:r>
                <a:r>
                  <a:rPr kumimoji="0" lang="fr-FR" sz="1400" b="0" i="0" u="none" strike="noStrike" kern="0" cap="none" spc="0" normalizeH="0" baseline="0" noProof="0">
                    <a:ln>
                      <a:noFill/>
                    </a:ln>
                    <a:solidFill>
                      <a:srgbClr val="DF2680"/>
                    </a:solidFill>
                    <a:effectLst/>
                    <a:uLnTx/>
                    <a:uFillTx/>
                    <a:latin typeface="+mn-lt"/>
                    <a:cs typeface="Calibri" panose="020F0502020204030204" pitchFamily="34" charset="0"/>
                  </a:rPr>
                  <a:t> </a:t>
                </a:r>
                <a:r>
                  <a:rPr kumimoji="0" lang="fr-FR" sz="1400" b="0" i="0" u="none" strike="noStrike" kern="0" cap="none" spc="0" normalizeH="0" baseline="0" noProof="0">
                    <a:ln>
                      <a:noFill/>
                    </a:ln>
                    <a:solidFill>
                      <a:srgbClr val="545859"/>
                    </a:solidFill>
                    <a:effectLst/>
                    <a:uLnTx/>
                    <a:uFillTx/>
                    <a:latin typeface="+mn-lt"/>
                    <a:cs typeface="Calibri" panose="020F0502020204030204" pitchFamily="34" charset="0"/>
                  </a:rPr>
                  <a:t>via leur logiciel métier ou le site dmp.fr</a:t>
                </a:r>
                <a:r>
                  <a:rPr lang="fr-FR" sz="1400" b="0" kern="0">
                    <a:solidFill>
                      <a:srgbClr val="545859"/>
                    </a:solidFill>
                    <a:latin typeface="+mn-lt"/>
                    <a:cs typeface="Calibri" panose="020F0502020204030204" pitchFamily="34" charset="0"/>
                  </a:rPr>
                  <a:t>. Cet accès est sécurisé grâce à un mécanisme d’authentification fort (carte CPS, e-CPS aujourd’hui), et contrôlé grâce à </a:t>
                </a:r>
                <a:r>
                  <a:rPr kumimoji="0" lang="fr-FR" sz="1400" b="0" i="0" u="none" strike="noStrike" kern="0" cap="none" spc="0" normalizeH="0" baseline="0" noProof="0">
                    <a:ln>
                      <a:noFill/>
                    </a:ln>
                    <a:solidFill>
                      <a:srgbClr val="545859"/>
                    </a:solidFill>
                    <a:effectLst/>
                    <a:uLnTx/>
                    <a:uFillTx/>
                    <a:latin typeface="+mn-lt"/>
                    <a:cs typeface="Calibri" panose="020F0502020204030204" pitchFamily="34" charset="0"/>
                  </a:rPr>
                  <a:t>la matrice d’habilitation</a:t>
                </a:r>
                <a:r>
                  <a:rPr lang="fr-FR" sz="1400" b="0" kern="0">
                    <a:latin typeface="+mn-lt"/>
                    <a:cs typeface="Calibri" panose="020F0502020204030204" pitchFamily="34" charset="0"/>
                  </a:rPr>
                  <a:t> </a:t>
                </a:r>
                <a:r>
                  <a:rPr kumimoji="0" lang="fr-FR" sz="1400" b="0" i="0" u="none" strike="noStrike" kern="0" cap="none" spc="0" normalizeH="0" baseline="0" noProof="0">
                    <a:ln>
                      <a:noFill/>
                    </a:ln>
                    <a:effectLst/>
                    <a:uLnTx/>
                    <a:uFillTx/>
                    <a:latin typeface="+mn-lt"/>
                    <a:cs typeface="Calibri" panose="020F0502020204030204" pitchFamily="34" charset="0"/>
                    <a:hlinkClick r:id="rId8">
                      <a:extLst>
                        <a:ext uri="{A12FA001-AC4F-418D-AE19-62706E023703}">
                          <ahyp:hlinkClr xmlns:ahyp="http://schemas.microsoft.com/office/drawing/2018/hyperlinkcolor" val="tx"/>
                        </a:ext>
                      </a:extLst>
                    </a:hlinkClick>
                  </a:rPr>
                  <a:t>https://www.dmp.fr/matrice-habilitation</a:t>
                </a:r>
                <a:r>
                  <a:rPr kumimoji="0" lang="fr-FR" sz="1400" b="0" i="0" u="none" strike="noStrike" kern="0" cap="none" spc="0" normalizeH="0" baseline="0" noProof="0">
                    <a:ln>
                      <a:noFill/>
                    </a:ln>
                    <a:effectLst/>
                    <a:uLnTx/>
                    <a:uFillTx/>
                    <a:latin typeface="+mn-lt"/>
                    <a:cs typeface="Calibri" panose="020F0502020204030204" pitchFamily="34" charset="0"/>
                  </a:rPr>
                  <a:t>, </a:t>
                </a:r>
              </a:p>
              <a:p>
                <a:pPr lvl="0">
                  <a:defRPr/>
                </a:pPr>
                <a:endParaRPr lang="fr-FR" sz="1400" b="0" kern="0">
                  <a:solidFill>
                    <a:srgbClr val="545859"/>
                  </a:solidFill>
                  <a:latin typeface="+mn-lt"/>
                  <a:cs typeface="Calibri" panose="020F0502020204030204" pitchFamily="34"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lang="fr-FR" sz="1400" kern="0">
                    <a:solidFill>
                      <a:srgbClr val="DF2680"/>
                    </a:solidFill>
                    <a:latin typeface="+mn-lt"/>
                    <a:cs typeface="Calibri" panose="020F0502020204030204" pitchFamily="34" charset="0"/>
                  </a:rPr>
                  <a:t>transmettre des documents et envoyer des messages vers la messagerie sécurisée</a:t>
                </a:r>
                <a:r>
                  <a:rPr lang="fr-FR" sz="1400" b="0" kern="0">
                    <a:solidFill>
                      <a:srgbClr val="DF2680"/>
                    </a:solidFill>
                    <a:latin typeface="+mn-lt"/>
                    <a:cs typeface="Calibri" panose="020F0502020204030204" pitchFamily="34" charset="0"/>
                  </a:rPr>
                  <a:t> </a:t>
                </a:r>
                <a:r>
                  <a:rPr lang="fr-FR" sz="1400" b="0" kern="0">
                    <a:solidFill>
                      <a:srgbClr val="545859"/>
                    </a:solidFill>
                    <a:latin typeface="+mn-lt"/>
                    <a:cs typeface="Calibri" panose="020F0502020204030204" pitchFamily="34" charset="0"/>
                  </a:rPr>
                  <a:t>de l’espace santé de leur patient. </a:t>
                </a:r>
                <a:endParaRPr kumimoji="0" lang="fr-FR" sz="1400" b="0" i="0" u="none" strike="noStrike" kern="0" cap="none" spc="0" normalizeH="0" baseline="0" noProof="0">
                  <a:ln>
                    <a:noFill/>
                  </a:ln>
                  <a:solidFill>
                    <a:srgbClr val="464646"/>
                  </a:solidFill>
                  <a:effectLst/>
                  <a:uLnTx/>
                  <a:uFillTx/>
                  <a:latin typeface="+mn-lt"/>
                  <a:cs typeface="Calibri" panose="020F0502020204030204" pitchFamily="34" charset="0"/>
                </a:endParaRPr>
              </a:p>
              <a:p>
                <a:pPr marL="0" marR="0" lvl="0" indent="0" algn="just" defTabSz="914400" eaLnBrk="1" fontAlgn="auto" latinLnBrk="0" hangingPunct="1">
                  <a:lnSpc>
                    <a:spcPct val="100000"/>
                  </a:lnSpc>
                  <a:spcBef>
                    <a:spcPts val="0"/>
                  </a:spcBef>
                  <a:spcAft>
                    <a:spcPts val="0"/>
                  </a:spcAft>
                  <a:buClrTx/>
                  <a:buSzTx/>
                  <a:buFontTx/>
                  <a:buNone/>
                  <a:tabLst/>
                  <a:defRPr/>
                </a:pPr>
                <a:endParaRPr kumimoji="0" lang="fr-FR" sz="1400" i="0" u="sng" strike="noStrike" kern="0" cap="none" spc="0" normalizeH="0" baseline="0" noProof="0">
                  <a:ln>
                    <a:noFill/>
                  </a:ln>
                  <a:solidFill>
                    <a:srgbClr val="DF2680"/>
                  </a:solidFill>
                  <a:effectLst/>
                  <a:uLnTx/>
                  <a:uFillTx/>
                  <a:latin typeface="+mn-lt"/>
                  <a:cs typeface="Calibri" panose="020F0502020204030204" pitchFamily="34" charset="0"/>
                </a:endParaRPr>
              </a:p>
              <a:p>
                <a:pPr marL="0" marR="0" lvl="0" indent="0" algn="just" defTabSz="914400" eaLnBrk="1" fontAlgn="auto" latinLnBrk="0" hangingPunct="1">
                  <a:lnSpc>
                    <a:spcPct val="100000"/>
                  </a:lnSpc>
                  <a:spcBef>
                    <a:spcPts val="0"/>
                  </a:spcBef>
                  <a:spcAft>
                    <a:spcPts val="0"/>
                  </a:spcAft>
                  <a:buClrTx/>
                  <a:buSzTx/>
                  <a:buFontTx/>
                  <a:buNone/>
                  <a:tabLst/>
                  <a:defRPr/>
                </a:pPr>
                <a:r>
                  <a:rPr kumimoji="0" lang="fr-FR" sz="1400" i="0" u="sng" strike="noStrike" kern="0" cap="none" spc="0" normalizeH="0" baseline="0" noProof="0">
                    <a:ln>
                      <a:noFill/>
                    </a:ln>
                    <a:solidFill>
                      <a:srgbClr val="DF2680"/>
                    </a:solidFill>
                    <a:effectLst/>
                    <a:uLnTx/>
                    <a:uFillTx/>
                    <a:latin typeface="+mn-lt"/>
                    <a:cs typeface="Calibri" panose="020F0502020204030204" pitchFamily="34" charset="0"/>
                  </a:rPr>
                  <a:t>L’Assurance maladie</a:t>
                </a:r>
                <a:r>
                  <a:rPr kumimoji="0" lang="fr-FR" sz="1400" b="0" i="0" u="none" strike="noStrike" kern="0" cap="none" spc="0" normalizeH="0" baseline="0" noProof="0">
                    <a:ln>
                      <a:noFill/>
                    </a:ln>
                    <a:solidFill>
                      <a:srgbClr val="464646"/>
                    </a:solidFill>
                    <a:effectLst/>
                    <a:uLnTx/>
                    <a:uFillTx/>
                    <a:latin typeface="+mn-lt"/>
                    <a:cs typeface="Calibri" panose="020F0502020204030204" pitchFamily="34" charset="0"/>
                  </a:rPr>
                  <a:t> peut déposer des documents :</a:t>
                </a:r>
                <a:r>
                  <a:rPr kumimoji="0" lang="fr-FR" sz="1400" b="0" i="0" u="none" strike="noStrike" kern="0" cap="none" spc="0" normalizeH="0" noProof="0">
                    <a:ln>
                      <a:noFill/>
                    </a:ln>
                    <a:solidFill>
                      <a:srgbClr val="464646"/>
                    </a:solidFill>
                    <a:effectLst/>
                    <a:uLnTx/>
                    <a:uFillTx/>
                    <a:latin typeface="+mn-lt"/>
                    <a:cs typeface="Calibri" panose="020F0502020204030204" pitchFamily="34" charset="0"/>
                  </a:rPr>
                  <a:t> </a:t>
                </a:r>
                <a:r>
                  <a:rPr kumimoji="0" lang="fr-FR" sz="1400" b="0" i="0" u="none" strike="noStrike" kern="0" cap="none" spc="0" normalizeH="0" baseline="0" noProof="0">
                    <a:ln>
                      <a:noFill/>
                    </a:ln>
                    <a:solidFill>
                      <a:srgbClr val="464646"/>
                    </a:solidFill>
                    <a:effectLst/>
                    <a:uLnTx/>
                    <a:uFillTx/>
                    <a:latin typeface="+mn-lt"/>
                    <a:cs typeface="Calibri" panose="020F0502020204030204" pitchFamily="34" charset="0"/>
                  </a:rPr>
                  <a:t>historique des soins, attestation vaccinale Covid-19, tests de dépistage Covid-19, etc.</a:t>
                </a:r>
              </a:p>
            </p:txBody>
          </p:sp>
          <p:pic>
            <p:nvPicPr>
              <p:cNvPr id="16" name="Picture 2" descr="Put free icon">
                <a:extLst>
                  <a:ext uri="{FF2B5EF4-FFF2-40B4-BE49-F238E27FC236}">
                    <a16:creationId xmlns:a16="http://schemas.microsoft.com/office/drawing/2014/main" id="{B8F54267-EB4C-44CC-88A6-80DE892D1829}"/>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343553" y="1975914"/>
                <a:ext cx="562861" cy="571500"/>
              </a:xfrm>
              <a:prstGeom prst="rect">
                <a:avLst/>
              </a:prstGeom>
              <a:noFill/>
            </p:spPr>
          </p:pic>
          <p:pic>
            <p:nvPicPr>
              <p:cNvPr id="17" name="Picture 4" descr="Search free icon">
                <a:extLst>
                  <a:ext uri="{FF2B5EF4-FFF2-40B4-BE49-F238E27FC236}">
                    <a16:creationId xmlns:a16="http://schemas.microsoft.com/office/drawing/2014/main" id="{20550621-1A03-4F8D-8ABD-7E5E04D0B6D6}"/>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372557" y="2805917"/>
                <a:ext cx="600386" cy="609600"/>
              </a:xfrm>
              <a:prstGeom prst="rect">
                <a:avLst/>
              </a:prstGeom>
              <a:noFill/>
            </p:spPr>
          </p:pic>
          <p:pic>
            <p:nvPicPr>
              <p:cNvPr id="18" name="Picture 2" descr="Put free icon">
                <a:extLst>
                  <a:ext uri="{FF2B5EF4-FFF2-40B4-BE49-F238E27FC236}">
                    <a16:creationId xmlns:a16="http://schemas.microsoft.com/office/drawing/2014/main" id="{C7E35BFF-593F-43E0-9AC1-43A281AC75DD}"/>
                  </a:ext>
                </a:extLst>
              </p:cNvPr>
              <p:cNvPicPr>
                <a:picLocks noChangeAspect="1" noChangeArrowheads="1"/>
              </p:cNvPicPr>
              <p:nvPr>
                <p:custDataLst>
                  <p:tags r:id="rId5"/>
                </p:custDataLst>
              </p:nvPr>
            </p:nvPicPr>
            <p:blipFill>
              <a:blip r:embed="rId9">
                <a:extLst>
                  <a:ext uri="{28A0092B-C50C-407E-A947-70E740481C1C}">
                    <a14:useLocalDpi xmlns:a14="http://schemas.microsoft.com/office/drawing/2010/main" val="0"/>
                  </a:ext>
                </a:extLst>
              </a:blip>
              <a:srcRect/>
              <a:stretch>
                <a:fillRect/>
              </a:stretch>
            </p:blipFill>
            <p:spPr bwMode="auto">
              <a:xfrm>
                <a:off x="395226" y="4701063"/>
                <a:ext cx="562861" cy="571500"/>
              </a:xfrm>
              <a:prstGeom prst="rect">
                <a:avLst/>
              </a:prstGeom>
              <a:noFill/>
            </p:spPr>
          </p:pic>
        </p:grpSp>
        <p:pic>
          <p:nvPicPr>
            <p:cNvPr id="26" name="Picture 8" descr="Send message free icon">
              <a:extLst>
                <a:ext uri="{FF2B5EF4-FFF2-40B4-BE49-F238E27FC236}">
                  <a16:creationId xmlns:a16="http://schemas.microsoft.com/office/drawing/2014/main" id="{9942E293-15DA-4F59-AE15-4FDC1888DBC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6273" y="3973259"/>
              <a:ext cx="412955" cy="412955"/>
            </a:xfrm>
            <a:prstGeom prst="rect">
              <a:avLst/>
            </a:prstGeom>
            <a:noFill/>
            <a:extLst>
              <a:ext uri="{909E8E84-426E-40DD-AFC4-6F175D3DCCD1}">
                <a14:hiddenFill xmlns:a14="http://schemas.microsoft.com/office/drawing/2010/main">
                  <a:solidFill>
                    <a:srgbClr val="FFFFFF"/>
                  </a:solidFill>
                </a14:hiddenFill>
              </a:ext>
            </a:extLst>
          </p:spPr>
        </p:pic>
      </p:grpSp>
      <p:sp>
        <p:nvSpPr>
          <p:cNvPr id="7" name="Rectangle 6"/>
          <p:cNvSpPr/>
          <p:nvPr/>
        </p:nvSpPr>
        <p:spPr>
          <a:xfrm>
            <a:off x="6807200" y="2120602"/>
            <a:ext cx="4802910" cy="3539430"/>
          </a:xfrm>
          <a:prstGeom prst="rect">
            <a:avLst/>
          </a:prstGeom>
        </p:spPr>
        <p:txBody>
          <a:bodyPr wrap="square" lIns="91440" tIns="45720" rIns="91440" bIns="45720" anchor="t">
            <a:spAutoFit/>
          </a:bodyPr>
          <a:lstStyle/>
          <a:p>
            <a:pPr fontAlgn="base"/>
            <a:r>
              <a:rPr lang="fr-FR" sz="1400" b="1" kern="0">
                <a:solidFill>
                  <a:srgbClr val="464646"/>
                </a:solidFill>
                <a:cs typeface="Calibri"/>
              </a:rPr>
              <a:t>Transmettre à vos patients les documents relatifs à leur prise en charge </a:t>
            </a:r>
            <a:r>
              <a:rPr lang="fr-FR" sz="1400" kern="0">
                <a:solidFill>
                  <a:srgbClr val="464646"/>
                </a:solidFill>
                <a:cs typeface="Calibri"/>
              </a:rPr>
              <a:t>: compte-rendu, volet de synthèse médicale, ordonnances, etc…</a:t>
            </a:r>
            <a:br>
              <a:rPr lang="fr-FR" sz="1400" kern="0">
                <a:cs typeface="Calibri" panose="020F0502020204030204" pitchFamily="34" charset="0"/>
              </a:rPr>
            </a:br>
            <a:endParaRPr lang="fr-FR" sz="1400" kern="0">
              <a:solidFill>
                <a:srgbClr val="464646"/>
              </a:solidFill>
              <a:cs typeface="Calibri" panose="020F0502020204030204" pitchFamily="34" charset="0"/>
            </a:endParaRPr>
          </a:p>
          <a:p>
            <a:pPr fontAlgn="base"/>
            <a:r>
              <a:rPr lang="fr-FR" sz="1400" b="1" kern="0">
                <a:solidFill>
                  <a:srgbClr val="464646"/>
                </a:solidFill>
                <a:cs typeface="Calibri"/>
              </a:rPr>
              <a:t>Echanger avec vos patients des informations </a:t>
            </a:r>
            <a:r>
              <a:rPr lang="fr-FR" sz="1400" b="1" kern="0" err="1">
                <a:solidFill>
                  <a:srgbClr val="464646"/>
                </a:solidFill>
                <a:cs typeface="Calibri"/>
              </a:rPr>
              <a:t>medico</a:t>
            </a:r>
            <a:r>
              <a:rPr lang="fr-FR" sz="1400" b="1" kern="0">
                <a:solidFill>
                  <a:srgbClr val="464646"/>
                </a:solidFill>
                <a:cs typeface="Calibri"/>
              </a:rPr>
              <a:t> administratives </a:t>
            </a:r>
            <a:r>
              <a:rPr lang="fr-FR" sz="1400" kern="0">
                <a:solidFill>
                  <a:srgbClr val="464646"/>
                </a:solidFill>
                <a:cs typeface="Calibri"/>
              </a:rPr>
              <a:t>: planification des rendez-vous, conduite à tenir avant un examen, </a:t>
            </a:r>
            <a:r>
              <a:rPr lang="fr-FR" sz="1400" kern="0" err="1">
                <a:solidFill>
                  <a:srgbClr val="464646"/>
                </a:solidFill>
                <a:cs typeface="Calibri"/>
              </a:rPr>
              <a:t>etc</a:t>
            </a:r>
            <a:endParaRPr lang="fr-FR" sz="1400" kern="0">
              <a:solidFill>
                <a:srgbClr val="464646"/>
              </a:solidFill>
              <a:cs typeface="Calibri"/>
            </a:endParaRPr>
          </a:p>
          <a:p>
            <a:pPr fontAlgn="base"/>
            <a:endParaRPr lang="fr-FR" sz="1400" kern="0">
              <a:solidFill>
                <a:srgbClr val="464646"/>
              </a:solidFill>
              <a:cs typeface="Calibri" panose="020F0502020204030204" pitchFamily="34" charset="0"/>
            </a:endParaRPr>
          </a:p>
          <a:p>
            <a:pPr fontAlgn="base"/>
            <a:r>
              <a:rPr lang="fr-FR" sz="1400" b="1" kern="0">
                <a:solidFill>
                  <a:srgbClr val="464646"/>
                </a:solidFill>
                <a:cs typeface="Calibri"/>
              </a:rPr>
              <a:t>Echanger avec vos patients dans le cadre d’un suivi médical </a:t>
            </a:r>
            <a:r>
              <a:rPr lang="fr-FR" sz="1400" kern="0">
                <a:solidFill>
                  <a:srgbClr val="464646"/>
                </a:solidFill>
                <a:cs typeface="Calibri"/>
              </a:rPr>
              <a:t>: suivi post opératoire, suivi durant une prise en charge nécessitant plusieurs épisodes de soins et plusieurs intervenants, etc.</a:t>
            </a:r>
            <a:br>
              <a:rPr lang="fr-FR" sz="1400" kern="0">
                <a:cs typeface="Calibri" panose="020F0502020204030204" pitchFamily="34" charset="0"/>
              </a:rPr>
            </a:br>
            <a:endParaRPr lang="fr-FR" sz="1400" kern="0">
              <a:solidFill>
                <a:srgbClr val="464646"/>
              </a:solidFill>
              <a:cs typeface="Calibri" panose="020F0502020204030204" pitchFamily="34" charset="0"/>
            </a:endParaRPr>
          </a:p>
          <a:p>
            <a:pPr fontAlgn="base"/>
            <a:r>
              <a:rPr lang="fr-FR" sz="1400" b="1" kern="0">
                <a:solidFill>
                  <a:srgbClr val="464646"/>
                </a:solidFill>
                <a:cs typeface="Calibri"/>
              </a:rPr>
              <a:t>Consultez le dossier médical de vos patients </a:t>
            </a:r>
            <a:r>
              <a:rPr lang="fr-FR" sz="1400" kern="0">
                <a:solidFill>
                  <a:srgbClr val="464646"/>
                </a:solidFill>
                <a:cs typeface="Calibri"/>
              </a:rPr>
              <a:t>: retrouvez-y les documents alimentés par les autres acteurs du cercle de soins de vos patients </a:t>
            </a:r>
            <a:endParaRPr lang="fr-FR" sz="1400" kern="0">
              <a:solidFill>
                <a:srgbClr val="464646"/>
              </a:solidFill>
              <a:cs typeface="Calibri" panose="020F0502020204030204" pitchFamily="34" charset="0"/>
            </a:endParaRPr>
          </a:p>
        </p:txBody>
      </p:sp>
      <p:sp>
        <p:nvSpPr>
          <p:cNvPr id="9" name="Rectangle 8"/>
          <p:cNvSpPr/>
          <p:nvPr/>
        </p:nvSpPr>
        <p:spPr>
          <a:xfrm>
            <a:off x="246639" y="1524034"/>
            <a:ext cx="5516851" cy="2573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kern="0">
                <a:solidFill>
                  <a:srgbClr val="DF2680"/>
                </a:solidFill>
                <a:cs typeface="Calibri" panose="020F0502020204030204" pitchFamily="34" charset="0"/>
              </a:rPr>
              <a:t>En tant que professionnel de santé, vous pouvez : </a:t>
            </a:r>
          </a:p>
        </p:txBody>
      </p:sp>
      <p:sp>
        <p:nvSpPr>
          <p:cNvPr id="19" name="Rectangle 18"/>
          <p:cNvSpPr/>
          <p:nvPr/>
        </p:nvSpPr>
        <p:spPr>
          <a:xfrm>
            <a:off x="6098144" y="1512930"/>
            <a:ext cx="5511966" cy="277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kern="0">
                <a:solidFill>
                  <a:srgbClr val="DF2680"/>
                </a:solidFill>
                <a:cs typeface="Calibri" panose="020F0502020204030204" pitchFamily="34" charset="0"/>
              </a:rPr>
              <a:t>Concrètement quels usages dans la prise en charge ?</a:t>
            </a:r>
          </a:p>
        </p:txBody>
      </p:sp>
      <p:pic>
        <p:nvPicPr>
          <p:cNvPr id="20" name="Picture 50">
            <a:extLst>
              <a:ext uri="{FF2B5EF4-FFF2-40B4-BE49-F238E27FC236}">
                <a16:creationId xmlns:a16="http://schemas.microsoft.com/office/drawing/2014/main" id="{B3E42009-21FC-4B20-8651-681CFC713958}"/>
              </a:ext>
            </a:extLst>
          </p:cNvPr>
          <p:cNvPicPr>
            <a:picLocks noChangeAspect="1"/>
          </p:cNvPicPr>
          <p:nvPr/>
        </p:nvPicPr>
        <p:blipFill>
          <a:blip r:embed="rId12"/>
          <a:stretch>
            <a:fillRect/>
          </a:stretch>
        </p:blipFill>
        <p:spPr>
          <a:xfrm>
            <a:off x="6151522" y="2105124"/>
            <a:ext cx="588896" cy="475671"/>
          </a:xfrm>
          <a:prstGeom prst="rect">
            <a:avLst/>
          </a:prstGeom>
        </p:spPr>
      </p:pic>
      <p:pic>
        <p:nvPicPr>
          <p:cNvPr id="21" name="Picture 50">
            <a:extLst>
              <a:ext uri="{FF2B5EF4-FFF2-40B4-BE49-F238E27FC236}">
                <a16:creationId xmlns:a16="http://schemas.microsoft.com/office/drawing/2014/main" id="{B3E42009-21FC-4B20-8651-681CFC713958}"/>
              </a:ext>
            </a:extLst>
          </p:cNvPr>
          <p:cNvPicPr>
            <a:picLocks noChangeAspect="1"/>
          </p:cNvPicPr>
          <p:nvPr/>
        </p:nvPicPr>
        <p:blipFill>
          <a:blip r:embed="rId12"/>
          <a:stretch>
            <a:fillRect/>
          </a:stretch>
        </p:blipFill>
        <p:spPr>
          <a:xfrm>
            <a:off x="6151522" y="5080752"/>
            <a:ext cx="588896" cy="475671"/>
          </a:xfrm>
          <a:prstGeom prst="rect">
            <a:avLst/>
          </a:prstGeom>
        </p:spPr>
      </p:pic>
      <p:pic>
        <p:nvPicPr>
          <p:cNvPr id="22" name="Picture 51">
            <a:extLst>
              <a:ext uri="{FF2B5EF4-FFF2-40B4-BE49-F238E27FC236}">
                <a16:creationId xmlns:a16="http://schemas.microsoft.com/office/drawing/2014/main" id="{C62B9A66-A1A7-4EA8-8543-C4C88645C672}"/>
              </a:ext>
            </a:extLst>
          </p:cNvPr>
          <p:cNvPicPr>
            <a:picLocks noChangeAspect="1"/>
          </p:cNvPicPr>
          <p:nvPr/>
        </p:nvPicPr>
        <p:blipFill>
          <a:blip r:embed="rId13"/>
          <a:stretch>
            <a:fillRect/>
          </a:stretch>
        </p:blipFill>
        <p:spPr>
          <a:xfrm>
            <a:off x="6098144" y="3200253"/>
            <a:ext cx="695653" cy="335574"/>
          </a:xfrm>
          <a:prstGeom prst="rect">
            <a:avLst/>
          </a:prstGeom>
        </p:spPr>
      </p:pic>
      <p:pic>
        <p:nvPicPr>
          <p:cNvPr id="23" name="Picture 51">
            <a:extLst>
              <a:ext uri="{FF2B5EF4-FFF2-40B4-BE49-F238E27FC236}">
                <a16:creationId xmlns:a16="http://schemas.microsoft.com/office/drawing/2014/main" id="{C62B9A66-A1A7-4EA8-8543-C4C88645C672}"/>
              </a:ext>
            </a:extLst>
          </p:cNvPr>
          <p:cNvPicPr>
            <a:picLocks noChangeAspect="1"/>
          </p:cNvPicPr>
          <p:nvPr/>
        </p:nvPicPr>
        <p:blipFill>
          <a:blip r:embed="rId13"/>
          <a:stretch>
            <a:fillRect/>
          </a:stretch>
        </p:blipFill>
        <p:spPr>
          <a:xfrm>
            <a:off x="6098144" y="4152984"/>
            <a:ext cx="695653" cy="335574"/>
          </a:xfrm>
          <a:prstGeom prst="rect">
            <a:avLst/>
          </a:prstGeom>
        </p:spPr>
      </p:pic>
      <p:pic>
        <p:nvPicPr>
          <p:cNvPr id="24" name="Picture 51">
            <a:extLst>
              <a:ext uri="{FF2B5EF4-FFF2-40B4-BE49-F238E27FC236}">
                <a16:creationId xmlns:a16="http://schemas.microsoft.com/office/drawing/2014/main" id="{C62B9A66-A1A7-4EA8-8543-C4C88645C672}"/>
              </a:ext>
            </a:extLst>
          </p:cNvPr>
          <p:cNvPicPr>
            <a:picLocks noChangeAspect="1"/>
          </p:cNvPicPr>
          <p:nvPr/>
        </p:nvPicPr>
        <p:blipFill>
          <a:blip r:embed="rId13"/>
          <a:stretch>
            <a:fillRect/>
          </a:stretch>
        </p:blipFill>
        <p:spPr>
          <a:xfrm>
            <a:off x="6098144" y="2581284"/>
            <a:ext cx="695653" cy="335574"/>
          </a:xfrm>
          <a:prstGeom prst="rect">
            <a:avLst/>
          </a:prstGeom>
        </p:spPr>
      </p:pic>
    </p:spTree>
    <p:extLst>
      <p:ext uri="{BB962C8B-B14F-4D97-AF65-F5344CB8AC3E}">
        <p14:creationId xmlns:p14="http://schemas.microsoft.com/office/powerpoint/2010/main" val="3132753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90831" y="2285599"/>
            <a:ext cx="8680878" cy="1462781"/>
          </a:xfrm>
        </p:spPr>
        <p:txBody>
          <a:bodyPr/>
          <a:lstStyle/>
          <a:p>
            <a:r>
              <a:rPr lang="fr-FR"/>
              <a:t>Démonstration WEB PS DMP</a:t>
            </a:r>
          </a:p>
        </p:txBody>
      </p:sp>
      <p:sp>
        <p:nvSpPr>
          <p:cNvPr id="3" name="Espace réservé du texte 2"/>
          <p:cNvSpPr>
            <a:spLocks noGrp="1"/>
          </p:cNvSpPr>
          <p:nvPr>
            <p:ph type="body" idx="1"/>
          </p:nvPr>
        </p:nvSpPr>
        <p:spPr>
          <a:xfrm>
            <a:off x="484266" y="3998745"/>
            <a:ext cx="8010695" cy="590397"/>
          </a:xfrm>
        </p:spPr>
        <p:txBody>
          <a:bodyPr vert="horz" lIns="0" tIns="0" rIns="0" bIns="0" rtlCol="0" anchor="t">
            <a:noAutofit/>
          </a:bodyPr>
          <a:lstStyle/>
          <a:p>
            <a:r>
              <a:rPr lang="fr-FR">
                <a:latin typeface="Arial"/>
                <a:cs typeface="Arial"/>
              </a:rPr>
              <a:t>Dr Sandra MALAK – DNS</a:t>
            </a:r>
            <a:endParaRPr lang="fr-FR"/>
          </a:p>
          <a:p>
            <a:r>
              <a:rPr lang="fr-FR">
                <a:latin typeface="Arial"/>
                <a:cs typeface="Arial"/>
              </a:rPr>
              <a:t>Stéphanie CHOUKROUN – Assurance Maladie</a:t>
            </a:r>
            <a:endParaRPr lang="fr-FR"/>
          </a:p>
        </p:txBody>
      </p:sp>
    </p:spTree>
    <p:extLst>
      <p:ext uri="{BB962C8B-B14F-4D97-AF65-F5344CB8AC3E}">
        <p14:creationId xmlns:p14="http://schemas.microsoft.com/office/powerpoint/2010/main" val="3208219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C5FBBF-3F18-407F-94A7-07715BE786A4}"/>
              </a:ext>
            </a:extLst>
          </p:cNvPr>
          <p:cNvSpPr>
            <a:spLocks noGrp="1"/>
          </p:cNvSpPr>
          <p:nvPr>
            <p:ph type="sldNum" sz="quarter" idx="15"/>
          </p:nvPr>
        </p:nvSpPr>
        <p:spPr/>
        <p:txBody>
          <a:bodyPr/>
          <a:lstStyle/>
          <a:p>
            <a:fld id="{975A587B-5814-4D9B-9598-FE9CB954CB01}" type="slidenum">
              <a:rPr lang="fr-FR" smtClean="0"/>
              <a:pPr/>
              <a:t>18</a:t>
            </a:fld>
            <a:endParaRPr lang="fr-FR"/>
          </a:p>
        </p:txBody>
      </p:sp>
      <p:sp>
        <p:nvSpPr>
          <p:cNvPr id="4" name="Title 3">
            <a:extLst>
              <a:ext uri="{FF2B5EF4-FFF2-40B4-BE49-F238E27FC236}">
                <a16:creationId xmlns:a16="http://schemas.microsoft.com/office/drawing/2014/main" id="{D840D5C8-53EB-4945-8753-55479B890D68}"/>
              </a:ext>
            </a:extLst>
          </p:cNvPr>
          <p:cNvSpPr>
            <a:spLocks noGrp="1"/>
          </p:cNvSpPr>
          <p:nvPr>
            <p:ph type="title"/>
          </p:nvPr>
        </p:nvSpPr>
        <p:spPr>
          <a:xfrm>
            <a:off x="838200" y="639933"/>
            <a:ext cx="10515600" cy="509818"/>
          </a:xfrm>
        </p:spPr>
        <p:txBody>
          <a:bodyPr vert="horz" lIns="91440" tIns="45720" rIns="91440" bIns="45720" rtlCol="0">
            <a:noAutofit/>
          </a:bodyPr>
          <a:lstStyle/>
          <a:p>
            <a:pPr>
              <a:buFont typeface="Arial" panose="020B0604020202020204" pitchFamily="34" charset="0"/>
            </a:pPr>
            <a:r>
              <a:rPr lang="fr-FR" sz="1800" b="1">
                <a:solidFill>
                  <a:srgbClr val="6F7072"/>
                </a:solidFill>
                <a:latin typeface="Arial" panose="020B0604020202020204" pitchFamily="34" charset="0"/>
                <a:cs typeface="Arial" panose="020B0604020202020204" pitchFamily="34" charset="0"/>
              </a:rPr>
              <a:t>ZOOM SUR Les documents de santé</a:t>
            </a:r>
          </a:p>
        </p:txBody>
      </p:sp>
      <p:graphicFrame>
        <p:nvGraphicFramePr>
          <p:cNvPr id="2" name="Table 4">
            <a:extLst>
              <a:ext uri="{FF2B5EF4-FFF2-40B4-BE49-F238E27FC236}">
                <a16:creationId xmlns:a16="http://schemas.microsoft.com/office/drawing/2014/main" id="{20A41769-1B03-4A59-9E7A-273F95C37D41}"/>
              </a:ext>
            </a:extLst>
          </p:cNvPr>
          <p:cNvGraphicFramePr>
            <a:graphicFrameLocks noGrp="1"/>
          </p:cNvGraphicFramePr>
          <p:nvPr>
            <p:extLst>
              <p:ext uri="{D42A27DB-BD31-4B8C-83A1-F6EECF244321}">
                <p14:modId xmlns:p14="http://schemas.microsoft.com/office/powerpoint/2010/main" val="665659449"/>
              </p:ext>
            </p:extLst>
          </p:nvPr>
        </p:nvGraphicFramePr>
        <p:xfrm>
          <a:off x="496885" y="2459905"/>
          <a:ext cx="11196456" cy="3137957"/>
        </p:xfrm>
        <a:graphic>
          <a:graphicData uri="http://schemas.openxmlformats.org/drawingml/2006/table">
            <a:tbl>
              <a:tblPr>
                <a:tableStyleId>{5C22544A-7EE6-4342-B048-85BDC9FD1C3A}</a:tableStyleId>
              </a:tblPr>
              <a:tblGrid>
                <a:gridCol w="1237829">
                  <a:extLst>
                    <a:ext uri="{9D8B030D-6E8A-4147-A177-3AD203B41FA5}">
                      <a16:colId xmlns:a16="http://schemas.microsoft.com/office/drawing/2014/main" val="2535360370"/>
                    </a:ext>
                  </a:extLst>
                </a:gridCol>
                <a:gridCol w="1422661">
                  <a:extLst>
                    <a:ext uri="{9D8B030D-6E8A-4147-A177-3AD203B41FA5}">
                      <a16:colId xmlns:a16="http://schemas.microsoft.com/office/drawing/2014/main" val="3458672233"/>
                    </a:ext>
                  </a:extLst>
                </a:gridCol>
                <a:gridCol w="1422661">
                  <a:extLst>
                    <a:ext uri="{9D8B030D-6E8A-4147-A177-3AD203B41FA5}">
                      <a16:colId xmlns:a16="http://schemas.microsoft.com/office/drawing/2014/main" val="2278154686"/>
                    </a:ext>
                  </a:extLst>
                </a:gridCol>
                <a:gridCol w="1422661">
                  <a:extLst>
                    <a:ext uri="{9D8B030D-6E8A-4147-A177-3AD203B41FA5}">
                      <a16:colId xmlns:a16="http://schemas.microsoft.com/office/drawing/2014/main" val="1604662840"/>
                    </a:ext>
                  </a:extLst>
                </a:gridCol>
                <a:gridCol w="1422661">
                  <a:extLst>
                    <a:ext uri="{9D8B030D-6E8A-4147-A177-3AD203B41FA5}">
                      <a16:colId xmlns:a16="http://schemas.microsoft.com/office/drawing/2014/main" val="2360126887"/>
                    </a:ext>
                  </a:extLst>
                </a:gridCol>
                <a:gridCol w="1422661">
                  <a:extLst>
                    <a:ext uri="{9D8B030D-6E8A-4147-A177-3AD203B41FA5}">
                      <a16:colId xmlns:a16="http://schemas.microsoft.com/office/drawing/2014/main" val="837434388"/>
                    </a:ext>
                  </a:extLst>
                </a:gridCol>
                <a:gridCol w="1422661">
                  <a:extLst>
                    <a:ext uri="{9D8B030D-6E8A-4147-A177-3AD203B41FA5}">
                      <a16:colId xmlns:a16="http://schemas.microsoft.com/office/drawing/2014/main" val="1730844998"/>
                    </a:ext>
                  </a:extLst>
                </a:gridCol>
                <a:gridCol w="1422661">
                  <a:extLst>
                    <a:ext uri="{9D8B030D-6E8A-4147-A177-3AD203B41FA5}">
                      <a16:colId xmlns:a16="http://schemas.microsoft.com/office/drawing/2014/main" val="1106665880"/>
                    </a:ext>
                  </a:extLst>
                </a:gridCol>
              </a:tblGrid>
              <a:tr h="1368000">
                <a:tc>
                  <a:txBody>
                    <a:bodyPr/>
                    <a:lstStyle/>
                    <a:p>
                      <a:pPr algn="ctr"/>
                      <a:r>
                        <a:rPr lang="fr-FR" sz="1200" b="1">
                          <a:solidFill>
                            <a:srgbClr val="002060"/>
                          </a:solidFill>
                        </a:rPr>
                        <a:t>Vue Professionnel de santé</a:t>
                      </a:r>
                    </a:p>
                  </a:txBody>
                  <a:tcPr marL="45720" marR="45720" anchor="b">
                    <a:lnL w="12700" cmpd="sng">
                      <a:noFill/>
                    </a:lnL>
                    <a:lnR w="9525" cap="flat" cmpd="sng" algn="ctr">
                      <a:no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fr-FR" sz="1200" b="1">
                        <a:solidFill>
                          <a:schemeClr val="bg1"/>
                        </a:solidFill>
                      </a:endParaRPr>
                    </a:p>
                    <a:p>
                      <a:pPr algn="ctr"/>
                      <a:endParaRPr lang="fr-FR" sz="1200" b="1">
                        <a:solidFill>
                          <a:schemeClr val="bg1"/>
                        </a:solidFill>
                      </a:endParaRPr>
                    </a:p>
                    <a:p>
                      <a:pPr algn="ctr"/>
                      <a:r>
                        <a:rPr lang="fr-FR" sz="1200" b="1">
                          <a:solidFill>
                            <a:schemeClr val="bg1"/>
                          </a:solidFill>
                        </a:rPr>
                        <a:t>Synthèse</a:t>
                      </a:r>
                    </a:p>
                  </a:txBody>
                  <a:tcPr marL="45720" marR="45720" anchor="ctr">
                    <a:lnL w="9525" cap="flat" cmpd="sng" algn="ctr">
                      <a:noFill/>
                      <a:prstDash val="sysDot"/>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a:txBody>
                    <a:bodyPr/>
                    <a:lstStyle/>
                    <a:p>
                      <a:pPr algn="ctr"/>
                      <a:endParaRPr lang="fr-FR" sz="1100" b="1">
                        <a:solidFill>
                          <a:schemeClr val="bg1"/>
                        </a:solidFill>
                      </a:endParaRPr>
                    </a:p>
                    <a:p>
                      <a:pPr algn="ctr"/>
                      <a:r>
                        <a:rPr lang="fr-FR" sz="1100" b="1">
                          <a:solidFill>
                            <a:schemeClr val="bg1"/>
                          </a:solidFill>
                        </a:rPr>
                        <a:t>Dispensation, plans de soins, traitement administré, prescription</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a:txBody>
                    <a:bodyPr/>
                    <a:lstStyle/>
                    <a:p>
                      <a:pPr algn="ctr"/>
                      <a:endParaRPr lang="fr-FR" sz="1200" b="1">
                        <a:solidFill>
                          <a:schemeClr val="bg1"/>
                        </a:solidFill>
                      </a:endParaRPr>
                    </a:p>
                    <a:p>
                      <a:pPr algn="ctr"/>
                      <a:endParaRPr lang="fr-FR" sz="1200" b="1">
                        <a:solidFill>
                          <a:schemeClr val="bg1"/>
                        </a:solidFill>
                      </a:endParaRPr>
                    </a:p>
                    <a:p>
                      <a:pPr algn="ctr"/>
                      <a:r>
                        <a:rPr lang="fr-FR" sz="1200" b="1">
                          <a:solidFill>
                            <a:schemeClr val="bg1"/>
                          </a:solidFill>
                        </a:rPr>
                        <a:t>Imagerie médicale</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gridSpan="2">
                  <a:txBody>
                    <a:bodyPr/>
                    <a:lstStyle/>
                    <a:p>
                      <a:pPr algn="ctr"/>
                      <a:endParaRPr lang="fr-FR" sz="1200" b="1">
                        <a:solidFill>
                          <a:schemeClr val="bg1"/>
                        </a:solidFill>
                      </a:endParaRPr>
                    </a:p>
                    <a:p>
                      <a:pPr algn="ctr"/>
                      <a:endParaRPr lang="fr-FR" sz="1200" b="1">
                        <a:solidFill>
                          <a:schemeClr val="bg1"/>
                        </a:solidFill>
                      </a:endParaRPr>
                    </a:p>
                    <a:p>
                      <a:pPr algn="ctr"/>
                      <a:r>
                        <a:rPr lang="fr-FR" sz="1200" b="1">
                          <a:solidFill>
                            <a:schemeClr val="bg1"/>
                          </a:solidFill>
                        </a:rPr>
                        <a:t>Comptes-rendu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hMerge="1">
                  <a:txBody>
                    <a:bodyPr/>
                    <a:lstStyle/>
                    <a:p>
                      <a:pPr algn="ctr"/>
                      <a:r>
                        <a:rPr lang="fr-FR" sz="1200" b="1">
                          <a:solidFill>
                            <a:schemeClr val="bg1"/>
                          </a:solidFill>
                        </a:rPr>
                        <a:t>Comptes-rendu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a:txBody>
                    <a:bodyPr/>
                    <a:lstStyle/>
                    <a:p>
                      <a:pPr algn="ctr"/>
                      <a:endParaRPr lang="fr-FR" sz="1200" b="1">
                        <a:solidFill>
                          <a:schemeClr val="bg1"/>
                        </a:solidFill>
                      </a:endParaRPr>
                    </a:p>
                    <a:p>
                      <a:pPr algn="ctr"/>
                      <a:endParaRPr lang="fr-FR" sz="1200" b="1">
                        <a:solidFill>
                          <a:schemeClr val="bg1"/>
                        </a:solidFill>
                      </a:endParaRPr>
                    </a:p>
                    <a:p>
                      <a:pPr algn="ctr"/>
                      <a:r>
                        <a:rPr lang="fr-FR" sz="1200" b="1">
                          <a:solidFill>
                            <a:schemeClr val="bg1"/>
                          </a:solidFill>
                        </a:rPr>
                        <a:t>Prévention</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rgbClr val="2A9CA9">
                        <a:alpha val="40000"/>
                      </a:srgbClr>
                    </a:solidFill>
                  </a:tcPr>
                </a:tc>
                <a:tc>
                  <a:txBody>
                    <a:bodyPr/>
                    <a:lstStyle/>
                    <a:p>
                      <a:pPr algn="ctr"/>
                      <a:endParaRPr lang="fr-FR" sz="1200" b="1">
                        <a:solidFill>
                          <a:schemeClr val="bg1"/>
                        </a:solidFill>
                      </a:endParaRPr>
                    </a:p>
                    <a:p>
                      <a:pPr algn="ctr"/>
                      <a:endParaRPr lang="fr-FR" sz="1200" b="1">
                        <a:solidFill>
                          <a:schemeClr val="bg1"/>
                        </a:solidFill>
                      </a:endParaRPr>
                    </a:p>
                    <a:p>
                      <a:pPr algn="ctr"/>
                      <a:endParaRPr lang="fr-FR" sz="1200" b="1">
                        <a:solidFill>
                          <a:schemeClr val="bg1"/>
                        </a:solidFill>
                      </a:endParaRPr>
                    </a:p>
                    <a:p>
                      <a:pPr algn="ctr"/>
                      <a:r>
                        <a:rPr lang="fr-FR" sz="1200" b="1">
                          <a:solidFill>
                            <a:schemeClr val="bg1"/>
                          </a:solidFill>
                        </a:rPr>
                        <a:t>Certificat, déclaration</a:t>
                      </a:r>
                    </a:p>
                  </a:txBody>
                  <a:tcPr marL="45720" marR="4572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solidFill>
                      <a:srgbClr val="2A9CA9">
                        <a:alpha val="40000"/>
                      </a:srgbClr>
                    </a:solidFill>
                  </a:tcPr>
                </a:tc>
                <a:extLst>
                  <a:ext uri="{0D108BD9-81ED-4DB2-BD59-A6C34878D82A}">
                    <a16:rowId xmlns:a16="http://schemas.microsoft.com/office/drawing/2014/main" val="3706807736"/>
                  </a:ext>
                </a:extLst>
              </a:tr>
              <a:tr h="401957">
                <a:tc>
                  <a:txBody>
                    <a:bodyPr/>
                    <a:lstStyle/>
                    <a:p>
                      <a:pPr algn="ctr"/>
                      <a:endParaRPr lang="fr-FR" sz="1200"/>
                    </a:p>
                  </a:txBody>
                  <a:tcPr marL="45720" marR="45720" anchor="b">
                    <a:lnL w="12700" cmpd="sng">
                      <a:noFill/>
                    </a:lnL>
                    <a:lnR w="9525" cap="flat" cmpd="sng" algn="ctr">
                      <a:no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endParaRPr lang="fr-FR" sz="1200" b="1"/>
                    </a:p>
                  </a:txBody>
                  <a:tcPr marL="45720" marR="45720" anchor="ctr">
                    <a:lnL w="9525" cap="flat" cmpd="sng" algn="ctr">
                      <a:noFill/>
                      <a:prstDash val="sysDot"/>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noFill/>
                  </a:tcPr>
                </a:tc>
                <a:tc>
                  <a:txBody>
                    <a:bodyPr/>
                    <a:lstStyle/>
                    <a:p>
                      <a:pPr algn="ctr"/>
                      <a:endParaRPr lang="fr-FR" sz="1200" b="1"/>
                    </a:p>
                  </a:txBody>
                  <a:tcPr marL="45720" marR="4572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noFill/>
                  </a:tcPr>
                </a:tc>
                <a:extLst>
                  <a:ext uri="{0D108BD9-81ED-4DB2-BD59-A6C34878D82A}">
                    <a16:rowId xmlns:a16="http://schemas.microsoft.com/office/drawing/2014/main" val="3699438543"/>
                  </a:ext>
                </a:extLst>
              </a:tr>
              <a:tr h="1368000">
                <a:tc>
                  <a:txBody>
                    <a:bodyPr/>
                    <a:lstStyle/>
                    <a:p>
                      <a:pPr algn="ctr"/>
                      <a:r>
                        <a:rPr lang="fr-FR" sz="1200" b="1">
                          <a:solidFill>
                            <a:srgbClr val="002060"/>
                          </a:solidFill>
                        </a:rPr>
                        <a:t>Vue patient</a:t>
                      </a:r>
                    </a:p>
                  </a:txBody>
                  <a:tcPr marL="45720" marR="45720" anchor="b">
                    <a:lnL w="12700" cmpd="sng">
                      <a:noFill/>
                    </a:lnL>
                    <a:lnR w="9525" cap="flat" cmpd="sng" algn="ctr">
                      <a:no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fr-FR" sz="1200" b="1">
                          <a:solidFill>
                            <a:schemeClr val="bg1"/>
                          </a:solidFill>
                        </a:rPr>
                        <a:t>Ma santé en résumé</a:t>
                      </a:r>
                    </a:p>
                  </a:txBody>
                  <a:tcPr marL="45720" marR="45720" anchor="ctr">
                    <a:lnL w="9525" cap="flat" cmpd="sng" algn="ctr">
                      <a:noFill/>
                      <a:prstDash val="sysDot"/>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Ordonnances et soin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Radio, écho, scanner, IRM…</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Résultats de biologie</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Comptes rendu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Prévention et dépistages</a:t>
                      </a:r>
                    </a:p>
                  </a:txBody>
                  <a:tcPr marL="45720" marR="45720"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solidFill>
                      <a:schemeClr val="accent6">
                        <a:alpha val="40000"/>
                      </a:schemeClr>
                    </a:solidFill>
                  </a:tcPr>
                </a:tc>
                <a:tc>
                  <a:txBody>
                    <a:bodyPr/>
                    <a:lstStyle/>
                    <a:p>
                      <a:pPr algn="ctr"/>
                      <a:r>
                        <a:rPr lang="fr-FR" sz="1200" b="1">
                          <a:solidFill>
                            <a:schemeClr val="bg1"/>
                          </a:solidFill>
                        </a:rPr>
                        <a:t>Certificats médicaux</a:t>
                      </a:r>
                    </a:p>
                  </a:txBody>
                  <a:tcPr marL="45720" marR="45720" anchor="ctr">
                    <a:lnL w="76200" cap="flat" cmpd="sng" algn="ctr">
                      <a:solidFill>
                        <a:schemeClr val="bg1"/>
                      </a:solidFill>
                      <a:prstDash val="solid"/>
                      <a:round/>
                      <a:headEnd type="none" w="med" len="med"/>
                      <a:tailEnd type="none" w="med" len="med"/>
                    </a:lnL>
                    <a:lnR w="76200" cap="flat" cmpd="sng" algn="ctr">
                      <a:noFill/>
                      <a:prstDash val="solid"/>
                      <a:round/>
                      <a:headEnd type="none" w="med" len="med"/>
                      <a:tailEnd type="none" w="med" len="med"/>
                    </a:lnR>
                    <a:solidFill>
                      <a:schemeClr val="accent6">
                        <a:alpha val="40000"/>
                      </a:schemeClr>
                    </a:solidFill>
                  </a:tcPr>
                </a:tc>
                <a:extLst>
                  <a:ext uri="{0D108BD9-81ED-4DB2-BD59-A6C34878D82A}">
                    <a16:rowId xmlns:a16="http://schemas.microsoft.com/office/drawing/2014/main" val="2357487160"/>
                  </a:ext>
                </a:extLst>
              </a:tr>
            </a:tbl>
          </a:graphicData>
        </a:graphic>
      </p:graphicFrame>
      <p:cxnSp>
        <p:nvCxnSpPr>
          <p:cNvPr id="7" name="Straight Arrow Connector 6">
            <a:extLst>
              <a:ext uri="{FF2B5EF4-FFF2-40B4-BE49-F238E27FC236}">
                <a16:creationId xmlns:a16="http://schemas.microsoft.com/office/drawing/2014/main" id="{205DDBF2-666C-46C9-B6CE-6BFBD4CF16B1}"/>
              </a:ext>
            </a:extLst>
          </p:cNvPr>
          <p:cNvCxnSpPr>
            <a:cxnSpLocks/>
          </p:cNvCxnSpPr>
          <p:nvPr/>
        </p:nvCxnSpPr>
        <p:spPr>
          <a:xfrm>
            <a:off x="2466975"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80642DD3-5FF1-45D4-86F4-74527A614EE8}"/>
              </a:ext>
            </a:extLst>
          </p:cNvPr>
          <p:cNvCxnSpPr>
            <a:cxnSpLocks/>
          </p:cNvCxnSpPr>
          <p:nvPr/>
        </p:nvCxnSpPr>
        <p:spPr>
          <a:xfrm>
            <a:off x="3891068"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D7C3EE13-AB0F-4655-AFA5-F9D57012BB47}"/>
              </a:ext>
            </a:extLst>
          </p:cNvPr>
          <p:cNvCxnSpPr>
            <a:cxnSpLocks/>
          </p:cNvCxnSpPr>
          <p:nvPr/>
        </p:nvCxnSpPr>
        <p:spPr>
          <a:xfrm>
            <a:off x="5315161"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B246DCEE-5C92-43AC-9443-38896DD8727E}"/>
              </a:ext>
            </a:extLst>
          </p:cNvPr>
          <p:cNvCxnSpPr>
            <a:cxnSpLocks/>
          </p:cNvCxnSpPr>
          <p:nvPr/>
        </p:nvCxnSpPr>
        <p:spPr>
          <a:xfrm>
            <a:off x="6739254"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61D86CB3-4C9A-48C3-966E-F2CCE24BDDB1}"/>
              </a:ext>
            </a:extLst>
          </p:cNvPr>
          <p:cNvCxnSpPr>
            <a:cxnSpLocks/>
          </p:cNvCxnSpPr>
          <p:nvPr/>
        </p:nvCxnSpPr>
        <p:spPr>
          <a:xfrm>
            <a:off x="8163347"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47C2AD98-3DC2-41EB-8254-A8FAAB9544BA}"/>
              </a:ext>
            </a:extLst>
          </p:cNvPr>
          <p:cNvCxnSpPr>
            <a:cxnSpLocks/>
          </p:cNvCxnSpPr>
          <p:nvPr/>
        </p:nvCxnSpPr>
        <p:spPr>
          <a:xfrm>
            <a:off x="9587440"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7A4FFB5-40AA-41D6-B8CD-546ED98CEC6D}"/>
              </a:ext>
            </a:extLst>
          </p:cNvPr>
          <p:cNvCxnSpPr>
            <a:cxnSpLocks/>
          </p:cNvCxnSpPr>
          <p:nvPr/>
        </p:nvCxnSpPr>
        <p:spPr>
          <a:xfrm>
            <a:off x="11011535" y="3876800"/>
            <a:ext cx="0" cy="29464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70F879BB-3B62-4AD9-B287-B0B12BCC9872}"/>
              </a:ext>
            </a:extLst>
          </p:cNvPr>
          <p:cNvGrpSpPr>
            <a:grpSpLocks noChangeAspect="1"/>
          </p:cNvGrpSpPr>
          <p:nvPr/>
        </p:nvGrpSpPr>
        <p:grpSpPr>
          <a:xfrm>
            <a:off x="2782997" y="3497174"/>
            <a:ext cx="378587" cy="378587"/>
            <a:chOff x="2326640" y="3728084"/>
            <a:chExt cx="426115" cy="426115"/>
          </a:xfrm>
        </p:grpSpPr>
        <p:sp>
          <p:nvSpPr>
            <p:cNvPr id="18" name="Oval 17">
              <a:extLst>
                <a:ext uri="{FF2B5EF4-FFF2-40B4-BE49-F238E27FC236}">
                  <a16:creationId xmlns:a16="http://schemas.microsoft.com/office/drawing/2014/main" id="{523FC30B-97ED-4B5E-B7BE-5E74BBD2CC77}"/>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9" name="Picture 18">
              <a:extLst>
                <a:ext uri="{FF2B5EF4-FFF2-40B4-BE49-F238E27FC236}">
                  <a16:creationId xmlns:a16="http://schemas.microsoft.com/office/drawing/2014/main" id="{1C92FA22-0CE0-41B6-9D75-7110D365B3AB}"/>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23" name="Group 22">
            <a:extLst>
              <a:ext uri="{FF2B5EF4-FFF2-40B4-BE49-F238E27FC236}">
                <a16:creationId xmlns:a16="http://schemas.microsoft.com/office/drawing/2014/main" id="{8330FA68-6E76-4558-AE69-8B46F0866070}"/>
              </a:ext>
            </a:extLst>
          </p:cNvPr>
          <p:cNvGrpSpPr>
            <a:grpSpLocks noChangeAspect="1"/>
          </p:cNvGrpSpPr>
          <p:nvPr/>
        </p:nvGrpSpPr>
        <p:grpSpPr>
          <a:xfrm>
            <a:off x="4205862" y="3497174"/>
            <a:ext cx="378587" cy="378587"/>
            <a:chOff x="2326640" y="3728084"/>
            <a:chExt cx="426115" cy="426115"/>
          </a:xfrm>
        </p:grpSpPr>
        <p:sp>
          <p:nvSpPr>
            <p:cNvPr id="24" name="Oval 23">
              <a:extLst>
                <a:ext uri="{FF2B5EF4-FFF2-40B4-BE49-F238E27FC236}">
                  <a16:creationId xmlns:a16="http://schemas.microsoft.com/office/drawing/2014/main" id="{395CA959-3B31-4F98-BA26-EE893C60F66E}"/>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Picture 24">
              <a:extLst>
                <a:ext uri="{FF2B5EF4-FFF2-40B4-BE49-F238E27FC236}">
                  <a16:creationId xmlns:a16="http://schemas.microsoft.com/office/drawing/2014/main" id="{48F37683-82BD-4DC9-AD2C-D3CA67F3ADC5}"/>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26" name="Group 25">
            <a:extLst>
              <a:ext uri="{FF2B5EF4-FFF2-40B4-BE49-F238E27FC236}">
                <a16:creationId xmlns:a16="http://schemas.microsoft.com/office/drawing/2014/main" id="{96C2EF30-D794-452D-A79F-B45F06F9323A}"/>
              </a:ext>
            </a:extLst>
          </p:cNvPr>
          <p:cNvGrpSpPr>
            <a:grpSpLocks noChangeAspect="1"/>
          </p:cNvGrpSpPr>
          <p:nvPr/>
        </p:nvGrpSpPr>
        <p:grpSpPr>
          <a:xfrm>
            <a:off x="5630632" y="3497174"/>
            <a:ext cx="378587" cy="378587"/>
            <a:chOff x="2326640" y="3728084"/>
            <a:chExt cx="426115" cy="426115"/>
          </a:xfrm>
        </p:grpSpPr>
        <p:sp>
          <p:nvSpPr>
            <p:cNvPr id="27" name="Oval 26">
              <a:extLst>
                <a:ext uri="{FF2B5EF4-FFF2-40B4-BE49-F238E27FC236}">
                  <a16:creationId xmlns:a16="http://schemas.microsoft.com/office/drawing/2014/main" id="{DCA8AFCE-679B-4ACD-9715-938294767B5A}"/>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8" name="Picture 27">
              <a:extLst>
                <a:ext uri="{FF2B5EF4-FFF2-40B4-BE49-F238E27FC236}">
                  <a16:creationId xmlns:a16="http://schemas.microsoft.com/office/drawing/2014/main" id="{BA11A9DC-45FC-4DC7-B9BB-D0725F9FD97E}"/>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29" name="Group 28">
            <a:extLst>
              <a:ext uri="{FF2B5EF4-FFF2-40B4-BE49-F238E27FC236}">
                <a16:creationId xmlns:a16="http://schemas.microsoft.com/office/drawing/2014/main" id="{14B85623-CFF3-4754-96D1-4CD3E46CFDD9}"/>
              </a:ext>
            </a:extLst>
          </p:cNvPr>
          <p:cNvGrpSpPr>
            <a:grpSpLocks noChangeAspect="1"/>
          </p:cNvGrpSpPr>
          <p:nvPr/>
        </p:nvGrpSpPr>
        <p:grpSpPr>
          <a:xfrm>
            <a:off x="8474627" y="3497172"/>
            <a:ext cx="378587" cy="378587"/>
            <a:chOff x="2326640" y="3728084"/>
            <a:chExt cx="426115" cy="426115"/>
          </a:xfrm>
        </p:grpSpPr>
        <p:sp>
          <p:nvSpPr>
            <p:cNvPr id="30" name="Oval 29">
              <a:extLst>
                <a:ext uri="{FF2B5EF4-FFF2-40B4-BE49-F238E27FC236}">
                  <a16:creationId xmlns:a16="http://schemas.microsoft.com/office/drawing/2014/main" id="{1CC323F1-CD39-41BC-9409-9D1162D721E6}"/>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1" name="Picture 30">
              <a:extLst>
                <a:ext uri="{FF2B5EF4-FFF2-40B4-BE49-F238E27FC236}">
                  <a16:creationId xmlns:a16="http://schemas.microsoft.com/office/drawing/2014/main" id="{3351FE0B-C9E0-474A-842F-BB2A39DA58FD}"/>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32" name="Group 31">
            <a:extLst>
              <a:ext uri="{FF2B5EF4-FFF2-40B4-BE49-F238E27FC236}">
                <a16:creationId xmlns:a16="http://schemas.microsoft.com/office/drawing/2014/main" id="{FF14E964-1887-436F-91B6-4155DC8C6FB5}"/>
              </a:ext>
            </a:extLst>
          </p:cNvPr>
          <p:cNvGrpSpPr>
            <a:grpSpLocks noChangeAspect="1"/>
          </p:cNvGrpSpPr>
          <p:nvPr/>
        </p:nvGrpSpPr>
        <p:grpSpPr>
          <a:xfrm>
            <a:off x="11364977" y="3497170"/>
            <a:ext cx="378587" cy="378587"/>
            <a:chOff x="2326640" y="3728084"/>
            <a:chExt cx="426115" cy="426115"/>
          </a:xfrm>
        </p:grpSpPr>
        <p:sp>
          <p:nvSpPr>
            <p:cNvPr id="33" name="Oval 32">
              <a:extLst>
                <a:ext uri="{FF2B5EF4-FFF2-40B4-BE49-F238E27FC236}">
                  <a16:creationId xmlns:a16="http://schemas.microsoft.com/office/drawing/2014/main" id="{3885D490-F33F-4FBE-808F-CB510D498FAC}"/>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4" name="Picture 33">
              <a:extLst>
                <a:ext uri="{FF2B5EF4-FFF2-40B4-BE49-F238E27FC236}">
                  <a16:creationId xmlns:a16="http://schemas.microsoft.com/office/drawing/2014/main" id="{BB2BFF11-2AD1-46F0-866C-EE094E164A4F}"/>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35" name="Group 34">
            <a:extLst>
              <a:ext uri="{FF2B5EF4-FFF2-40B4-BE49-F238E27FC236}">
                <a16:creationId xmlns:a16="http://schemas.microsoft.com/office/drawing/2014/main" id="{8498CD57-FC92-4198-9558-090D135A0E63}"/>
              </a:ext>
            </a:extLst>
          </p:cNvPr>
          <p:cNvGrpSpPr>
            <a:grpSpLocks noChangeAspect="1"/>
          </p:cNvGrpSpPr>
          <p:nvPr/>
        </p:nvGrpSpPr>
        <p:grpSpPr>
          <a:xfrm>
            <a:off x="9895884" y="3497168"/>
            <a:ext cx="378587" cy="378587"/>
            <a:chOff x="2326640" y="3728084"/>
            <a:chExt cx="426115" cy="426115"/>
          </a:xfrm>
        </p:grpSpPr>
        <p:sp>
          <p:nvSpPr>
            <p:cNvPr id="36" name="Oval 35">
              <a:extLst>
                <a:ext uri="{FF2B5EF4-FFF2-40B4-BE49-F238E27FC236}">
                  <a16:creationId xmlns:a16="http://schemas.microsoft.com/office/drawing/2014/main" id="{25545964-1B73-4509-AD0F-FA5D22229797}"/>
                </a:ext>
              </a:extLst>
            </p:cNvPr>
            <p:cNvSpPr>
              <a:spLocks noChangeAspect="1"/>
            </p:cNvSpPr>
            <p:nvPr/>
          </p:nvSpPr>
          <p:spPr>
            <a:xfrm>
              <a:off x="2326640" y="3728084"/>
              <a:ext cx="426115" cy="426115"/>
            </a:xfrm>
            <a:prstGeom prst="ellipse">
              <a:avLst/>
            </a:prstGeom>
            <a:solidFill>
              <a:schemeClr val="bg1"/>
            </a:solidFill>
            <a:ln>
              <a:solidFill>
                <a:srgbClr val="2A9CA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7" name="Picture 36">
              <a:extLst>
                <a:ext uri="{FF2B5EF4-FFF2-40B4-BE49-F238E27FC236}">
                  <a16:creationId xmlns:a16="http://schemas.microsoft.com/office/drawing/2014/main" id="{0F7D0900-4365-4393-90D5-D80EFF6F7FF5}"/>
                </a:ext>
              </a:extLst>
            </p:cNvPr>
            <p:cNvPicPr>
              <a:picLocks noChangeAspect="1"/>
            </p:cNvPicPr>
            <p:nvPr/>
          </p:nvPicPr>
          <p:blipFill rotWithShape="1">
            <a:blip r:embed="rId3"/>
            <a:srcRect l="7249" r="7313"/>
            <a:stretch/>
          </p:blipFill>
          <p:spPr>
            <a:xfrm>
              <a:off x="2343301" y="3778001"/>
              <a:ext cx="392792" cy="326280"/>
            </a:xfrm>
            <a:prstGeom prst="roundRect">
              <a:avLst>
                <a:gd name="adj" fmla="val 42940"/>
              </a:avLst>
            </a:prstGeom>
          </p:spPr>
        </p:pic>
      </p:grpSp>
      <p:grpSp>
        <p:nvGrpSpPr>
          <p:cNvPr id="38" name="Group 37">
            <a:extLst>
              <a:ext uri="{FF2B5EF4-FFF2-40B4-BE49-F238E27FC236}">
                <a16:creationId xmlns:a16="http://schemas.microsoft.com/office/drawing/2014/main" id="{4029B3FC-B93C-42BA-BFE4-09981E25A01B}"/>
              </a:ext>
            </a:extLst>
          </p:cNvPr>
          <p:cNvGrpSpPr>
            <a:grpSpLocks noChangeAspect="1"/>
          </p:cNvGrpSpPr>
          <p:nvPr/>
        </p:nvGrpSpPr>
        <p:grpSpPr>
          <a:xfrm>
            <a:off x="2782996" y="5266164"/>
            <a:ext cx="378587" cy="378587"/>
            <a:chOff x="3840184" y="3518965"/>
            <a:chExt cx="427218" cy="427218"/>
          </a:xfrm>
        </p:grpSpPr>
        <p:sp>
          <p:nvSpPr>
            <p:cNvPr id="39" name="Oval 38">
              <a:extLst>
                <a:ext uri="{FF2B5EF4-FFF2-40B4-BE49-F238E27FC236}">
                  <a16:creationId xmlns:a16="http://schemas.microsoft.com/office/drawing/2014/main" id="{300E5112-E721-4664-B591-D13234543CB0}"/>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0" name="Picture 39">
              <a:extLst>
                <a:ext uri="{FF2B5EF4-FFF2-40B4-BE49-F238E27FC236}">
                  <a16:creationId xmlns:a16="http://schemas.microsoft.com/office/drawing/2014/main" id="{458BEE56-14E8-453A-8A6F-66C08F5F73D1}"/>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41" name="Group 40">
            <a:extLst>
              <a:ext uri="{FF2B5EF4-FFF2-40B4-BE49-F238E27FC236}">
                <a16:creationId xmlns:a16="http://schemas.microsoft.com/office/drawing/2014/main" id="{7AC3E81A-7B2C-4381-9243-0F93C9B09F48}"/>
              </a:ext>
            </a:extLst>
          </p:cNvPr>
          <p:cNvGrpSpPr>
            <a:grpSpLocks noChangeAspect="1"/>
          </p:cNvGrpSpPr>
          <p:nvPr/>
        </p:nvGrpSpPr>
        <p:grpSpPr>
          <a:xfrm>
            <a:off x="4191059" y="5266164"/>
            <a:ext cx="378587" cy="378587"/>
            <a:chOff x="3840184" y="3518965"/>
            <a:chExt cx="427218" cy="427218"/>
          </a:xfrm>
        </p:grpSpPr>
        <p:sp>
          <p:nvSpPr>
            <p:cNvPr id="42" name="Oval 41">
              <a:extLst>
                <a:ext uri="{FF2B5EF4-FFF2-40B4-BE49-F238E27FC236}">
                  <a16:creationId xmlns:a16="http://schemas.microsoft.com/office/drawing/2014/main" id="{5160FD2B-B5CE-4DAA-90EC-B0219EC4FC2D}"/>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3" name="Picture 42">
              <a:extLst>
                <a:ext uri="{FF2B5EF4-FFF2-40B4-BE49-F238E27FC236}">
                  <a16:creationId xmlns:a16="http://schemas.microsoft.com/office/drawing/2014/main" id="{DAE980DD-5F7F-4B16-9E94-3BB47474455F}"/>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44" name="Group 43">
            <a:extLst>
              <a:ext uri="{FF2B5EF4-FFF2-40B4-BE49-F238E27FC236}">
                <a16:creationId xmlns:a16="http://schemas.microsoft.com/office/drawing/2014/main" id="{034A1670-58AA-4D40-9926-DC2C530231EC}"/>
              </a:ext>
            </a:extLst>
          </p:cNvPr>
          <p:cNvGrpSpPr>
            <a:grpSpLocks noChangeAspect="1"/>
          </p:cNvGrpSpPr>
          <p:nvPr/>
        </p:nvGrpSpPr>
        <p:grpSpPr>
          <a:xfrm>
            <a:off x="5636934" y="5266164"/>
            <a:ext cx="378587" cy="378587"/>
            <a:chOff x="3840184" y="3518965"/>
            <a:chExt cx="427218" cy="427218"/>
          </a:xfrm>
        </p:grpSpPr>
        <p:sp>
          <p:nvSpPr>
            <p:cNvPr id="45" name="Oval 44">
              <a:extLst>
                <a:ext uri="{FF2B5EF4-FFF2-40B4-BE49-F238E27FC236}">
                  <a16:creationId xmlns:a16="http://schemas.microsoft.com/office/drawing/2014/main" id="{D3C231BF-AABB-47D6-82CA-E8BDF034A390}"/>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6" name="Picture 45">
              <a:extLst>
                <a:ext uri="{FF2B5EF4-FFF2-40B4-BE49-F238E27FC236}">
                  <a16:creationId xmlns:a16="http://schemas.microsoft.com/office/drawing/2014/main" id="{B7437799-E13A-485F-9FB6-069690E28D1D}"/>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47" name="Group 46">
            <a:extLst>
              <a:ext uri="{FF2B5EF4-FFF2-40B4-BE49-F238E27FC236}">
                <a16:creationId xmlns:a16="http://schemas.microsoft.com/office/drawing/2014/main" id="{7925864E-125E-4C21-BFD3-278D9964E6D8}"/>
              </a:ext>
            </a:extLst>
          </p:cNvPr>
          <p:cNvGrpSpPr>
            <a:grpSpLocks noChangeAspect="1"/>
          </p:cNvGrpSpPr>
          <p:nvPr/>
        </p:nvGrpSpPr>
        <p:grpSpPr>
          <a:xfrm>
            <a:off x="7068703" y="5266164"/>
            <a:ext cx="378587" cy="378587"/>
            <a:chOff x="3840184" y="3518965"/>
            <a:chExt cx="427218" cy="427218"/>
          </a:xfrm>
        </p:grpSpPr>
        <p:sp>
          <p:nvSpPr>
            <p:cNvPr id="48" name="Oval 47">
              <a:extLst>
                <a:ext uri="{FF2B5EF4-FFF2-40B4-BE49-F238E27FC236}">
                  <a16:creationId xmlns:a16="http://schemas.microsoft.com/office/drawing/2014/main" id="{DB232292-91EA-4A38-9039-60911611CC52}"/>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9" name="Picture 48">
              <a:extLst>
                <a:ext uri="{FF2B5EF4-FFF2-40B4-BE49-F238E27FC236}">
                  <a16:creationId xmlns:a16="http://schemas.microsoft.com/office/drawing/2014/main" id="{526B72F9-A3D2-4CDD-8578-76D674898E3F}"/>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50" name="Group 49">
            <a:extLst>
              <a:ext uri="{FF2B5EF4-FFF2-40B4-BE49-F238E27FC236}">
                <a16:creationId xmlns:a16="http://schemas.microsoft.com/office/drawing/2014/main" id="{6CA6E560-52C0-4927-88BA-05C6B02939D1}"/>
              </a:ext>
            </a:extLst>
          </p:cNvPr>
          <p:cNvGrpSpPr>
            <a:grpSpLocks noChangeAspect="1"/>
          </p:cNvGrpSpPr>
          <p:nvPr/>
        </p:nvGrpSpPr>
        <p:grpSpPr>
          <a:xfrm>
            <a:off x="8472560" y="5266164"/>
            <a:ext cx="378587" cy="378587"/>
            <a:chOff x="3840184" y="3518965"/>
            <a:chExt cx="427218" cy="427218"/>
          </a:xfrm>
        </p:grpSpPr>
        <p:sp>
          <p:nvSpPr>
            <p:cNvPr id="51" name="Oval 50">
              <a:extLst>
                <a:ext uri="{FF2B5EF4-FFF2-40B4-BE49-F238E27FC236}">
                  <a16:creationId xmlns:a16="http://schemas.microsoft.com/office/drawing/2014/main" id="{A59928B1-FBE2-40A6-9380-A42CF4EBF263}"/>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2" name="Picture 51">
              <a:extLst>
                <a:ext uri="{FF2B5EF4-FFF2-40B4-BE49-F238E27FC236}">
                  <a16:creationId xmlns:a16="http://schemas.microsoft.com/office/drawing/2014/main" id="{DB2F35CB-3655-4FEB-96F1-8908B0B72EFE}"/>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53" name="Group 52">
            <a:extLst>
              <a:ext uri="{FF2B5EF4-FFF2-40B4-BE49-F238E27FC236}">
                <a16:creationId xmlns:a16="http://schemas.microsoft.com/office/drawing/2014/main" id="{E1CFC7DA-E5B5-437A-AED7-46280B82A2E5}"/>
              </a:ext>
            </a:extLst>
          </p:cNvPr>
          <p:cNvGrpSpPr>
            <a:grpSpLocks noChangeAspect="1"/>
          </p:cNvGrpSpPr>
          <p:nvPr/>
        </p:nvGrpSpPr>
        <p:grpSpPr>
          <a:xfrm>
            <a:off x="9895883" y="5268692"/>
            <a:ext cx="378587" cy="378587"/>
            <a:chOff x="3840184" y="3518965"/>
            <a:chExt cx="427218" cy="427218"/>
          </a:xfrm>
        </p:grpSpPr>
        <p:sp>
          <p:nvSpPr>
            <p:cNvPr id="54" name="Oval 53">
              <a:extLst>
                <a:ext uri="{FF2B5EF4-FFF2-40B4-BE49-F238E27FC236}">
                  <a16:creationId xmlns:a16="http://schemas.microsoft.com/office/drawing/2014/main" id="{E0939C32-E8D5-4CED-AA87-51A885E7E2C3}"/>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5" name="Picture 54">
              <a:extLst>
                <a:ext uri="{FF2B5EF4-FFF2-40B4-BE49-F238E27FC236}">
                  <a16:creationId xmlns:a16="http://schemas.microsoft.com/office/drawing/2014/main" id="{16978E72-AA24-4B79-9869-3AC38643F2F3}"/>
                </a:ext>
              </a:extLst>
            </p:cNvPr>
            <p:cNvPicPr>
              <a:picLocks noChangeAspect="1"/>
            </p:cNvPicPr>
            <p:nvPr/>
          </p:nvPicPr>
          <p:blipFill>
            <a:blip r:embed="rId4"/>
            <a:stretch>
              <a:fillRect/>
            </a:stretch>
          </p:blipFill>
          <p:spPr>
            <a:xfrm>
              <a:off x="3856478" y="3599387"/>
              <a:ext cx="394631" cy="266375"/>
            </a:xfrm>
            <a:prstGeom prst="rect">
              <a:avLst/>
            </a:prstGeom>
          </p:spPr>
        </p:pic>
      </p:grpSp>
      <p:grpSp>
        <p:nvGrpSpPr>
          <p:cNvPr id="56" name="Group 55">
            <a:extLst>
              <a:ext uri="{FF2B5EF4-FFF2-40B4-BE49-F238E27FC236}">
                <a16:creationId xmlns:a16="http://schemas.microsoft.com/office/drawing/2014/main" id="{CB92C5EB-7452-4239-989D-643E9A9501BF}"/>
              </a:ext>
            </a:extLst>
          </p:cNvPr>
          <p:cNvGrpSpPr>
            <a:grpSpLocks noChangeAspect="1"/>
          </p:cNvGrpSpPr>
          <p:nvPr/>
        </p:nvGrpSpPr>
        <p:grpSpPr>
          <a:xfrm>
            <a:off x="11364977" y="5266164"/>
            <a:ext cx="378587" cy="378587"/>
            <a:chOff x="3840184" y="3518965"/>
            <a:chExt cx="427218" cy="427218"/>
          </a:xfrm>
        </p:grpSpPr>
        <p:sp>
          <p:nvSpPr>
            <p:cNvPr id="57" name="Oval 56">
              <a:extLst>
                <a:ext uri="{FF2B5EF4-FFF2-40B4-BE49-F238E27FC236}">
                  <a16:creationId xmlns:a16="http://schemas.microsoft.com/office/drawing/2014/main" id="{D337149C-A5D1-41AF-B3ED-257291257671}"/>
                </a:ext>
              </a:extLst>
            </p:cNvPr>
            <p:cNvSpPr>
              <a:spLocks noChangeAspect="1"/>
            </p:cNvSpPr>
            <p:nvPr/>
          </p:nvSpPr>
          <p:spPr>
            <a:xfrm>
              <a:off x="3840184" y="3518965"/>
              <a:ext cx="427218" cy="427218"/>
            </a:xfrm>
            <a:prstGeom prst="ellipse">
              <a:avLst/>
            </a:prstGeom>
            <a:solidFill>
              <a:schemeClr val="bg1"/>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8" name="Picture 57">
              <a:extLst>
                <a:ext uri="{FF2B5EF4-FFF2-40B4-BE49-F238E27FC236}">
                  <a16:creationId xmlns:a16="http://schemas.microsoft.com/office/drawing/2014/main" id="{600381DF-8DF2-4AA5-9071-13ECBBDA606F}"/>
                </a:ext>
              </a:extLst>
            </p:cNvPr>
            <p:cNvPicPr>
              <a:picLocks noChangeAspect="1"/>
            </p:cNvPicPr>
            <p:nvPr/>
          </p:nvPicPr>
          <p:blipFill>
            <a:blip r:embed="rId4"/>
            <a:stretch>
              <a:fillRect/>
            </a:stretch>
          </p:blipFill>
          <p:spPr>
            <a:xfrm>
              <a:off x="3856478" y="3599387"/>
              <a:ext cx="394631" cy="266375"/>
            </a:xfrm>
            <a:prstGeom prst="rect">
              <a:avLst/>
            </a:prstGeom>
          </p:spPr>
        </p:pic>
      </p:grpSp>
      <p:pic>
        <p:nvPicPr>
          <p:cNvPr id="59" name="Graphic 58" descr="Research outline">
            <a:extLst>
              <a:ext uri="{FF2B5EF4-FFF2-40B4-BE49-F238E27FC236}">
                <a16:creationId xmlns:a16="http://schemas.microsoft.com/office/drawing/2014/main" id="{E45FE42C-895B-4A93-AA0E-0DB72579AC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50980" y="2545923"/>
            <a:ext cx="597300" cy="597300"/>
          </a:xfrm>
          <a:prstGeom prst="rect">
            <a:avLst/>
          </a:prstGeom>
        </p:spPr>
      </p:pic>
      <p:sp>
        <p:nvSpPr>
          <p:cNvPr id="60" name="Freeform 164">
            <a:extLst>
              <a:ext uri="{FF2B5EF4-FFF2-40B4-BE49-F238E27FC236}">
                <a16:creationId xmlns:a16="http://schemas.microsoft.com/office/drawing/2014/main" id="{6E45298C-B26C-47E7-9F1B-671A4ABE9FA0}"/>
              </a:ext>
            </a:extLst>
          </p:cNvPr>
          <p:cNvSpPr>
            <a:spLocks noChangeAspect="1" noEditPoints="1"/>
          </p:cNvSpPr>
          <p:nvPr/>
        </p:nvSpPr>
        <p:spPr bwMode="auto">
          <a:xfrm>
            <a:off x="5067638" y="2597050"/>
            <a:ext cx="495045" cy="495046"/>
          </a:xfrm>
          <a:custGeom>
            <a:avLst/>
            <a:gdLst>
              <a:gd name="T0" fmla="*/ 63 w 140"/>
              <a:gd name="T1" fmla="*/ 0 h 140"/>
              <a:gd name="T2" fmla="*/ 74 w 140"/>
              <a:gd name="T3" fmla="*/ 16 h 140"/>
              <a:gd name="T4" fmla="*/ 83 w 140"/>
              <a:gd name="T5" fmla="*/ 31 h 140"/>
              <a:gd name="T6" fmla="*/ 86 w 140"/>
              <a:gd name="T7" fmla="*/ 37 h 140"/>
              <a:gd name="T8" fmla="*/ 91 w 140"/>
              <a:gd name="T9" fmla="*/ 49 h 140"/>
              <a:gd name="T10" fmla="*/ 94 w 140"/>
              <a:gd name="T11" fmla="*/ 57 h 140"/>
              <a:gd name="T12" fmla="*/ 71 w 140"/>
              <a:gd name="T13" fmla="*/ 85 h 140"/>
              <a:gd name="T14" fmla="*/ 48 w 140"/>
              <a:gd name="T15" fmla="*/ 66 h 140"/>
              <a:gd name="T16" fmla="*/ 47 w 140"/>
              <a:gd name="T17" fmla="*/ 62 h 140"/>
              <a:gd name="T18" fmla="*/ 45 w 140"/>
              <a:gd name="T19" fmla="*/ 55 h 140"/>
              <a:gd name="T20" fmla="*/ 41 w 140"/>
              <a:gd name="T21" fmla="*/ 43 h 140"/>
              <a:gd name="T22" fmla="*/ 35 w 140"/>
              <a:gd name="T23" fmla="*/ 29 h 140"/>
              <a:gd name="T24" fmla="*/ 25 w 140"/>
              <a:gd name="T25" fmla="*/ 8 h 140"/>
              <a:gd name="T26" fmla="*/ 20 w 140"/>
              <a:gd name="T27" fmla="*/ 0 h 140"/>
              <a:gd name="T28" fmla="*/ 0 w 140"/>
              <a:gd name="T29" fmla="*/ 17 h 140"/>
              <a:gd name="T30" fmla="*/ 18 w 140"/>
              <a:gd name="T31" fmla="*/ 140 h 140"/>
              <a:gd name="T32" fmla="*/ 23 w 140"/>
              <a:gd name="T33" fmla="*/ 140 h 140"/>
              <a:gd name="T34" fmla="*/ 24 w 140"/>
              <a:gd name="T35" fmla="*/ 139 h 140"/>
              <a:gd name="T36" fmla="*/ 28 w 140"/>
              <a:gd name="T37" fmla="*/ 134 h 140"/>
              <a:gd name="T38" fmla="*/ 32 w 140"/>
              <a:gd name="T39" fmla="*/ 127 h 140"/>
              <a:gd name="T40" fmla="*/ 37 w 140"/>
              <a:gd name="T41" fmla="*/ 125 h 140"/>
              <a:gd name="T42" fmla="*/ 37 w 140"/>
              <a:gd name="T43" fmla="*/ 140 h 140"/>
              <a:gd name="T44" fmla="*/ 43 w 140"/>
              <a:gd name="T45" fmla="*/ 135 h 140"/>
              <a:gd name="T46" fmla="*/ 45 w 140"/>
              <a:gd name="T47" fmla="*/ 115 h 140"/>
              <a:gd name="T48" fmla="*/ 48 w 140"/>
              <a:gd name="T49" fmla="*/ 92 h 140"/>
              <a:gd name="T50" fmla="*/ 71 w 140"/>
              <a:gd name="T51" fmla="*/ 96 h 140"/>
              <a:gd name="T52" fmla="*/ 88 w 140"/>
              <a:gd name="T53" fmla="*/ 91 h 140"/>
              <a:gd name="T54" fmla="*/ 85 w 140"/>
              <a:gd name="T55" fmla="*/ 105 h 140"/>
              <a:gd name="T56" fmla="*/ 74 w 140"/>
              <a:gd name="T57" fmla="*/ 140 h 140"/>
              <a:gd name="T58" fmla="*/ 140 w 140"/>
              <a:gd name="T59" fmla="*/ 123 h 140"/>
              <a:gd name="T60" fmla="*/ 123 w 140"/>
              <a:gd name="T61" fmla="*/ 0 h 140"/>
              <a:gd name="T62" fmla="*/ 105 w 140"/>
              <a:gd name="T63" fmla="*/ 55 h 140"/>
              <a:gd name="T64" fmla="*/ 102 w 140"/>
              <a:gd name="T65" fmla="*/ 45 h 140"/>
              <a:gd name="T66" fmla="*/ 99 w 140"/>
              <a:gd name="T67" fmla="*/ 39 h 140"/>
              <a:gd name="T68" fmla="*/ 117 w 140"/>
              <a:gd name="T69" fmla="*/ 58 h 140"/>
              <a:gd name="T70" fmla="*/ 128 w 140"/>
              <a:gd name="T71" fmla="*/ 128 h 140"/>
              <a:gd name="T72" fmla="*/ 115 w 140"/>
              <a:gd name="T73" fmla="*/ 119 h 140"/>
              <a:gd name="T74" fmla="*/ 128 w 140"/>
              <a:gd name="T75" fmla="*/ 128 h 140"/>
              <a:gd name="T76" fmla="*/ 115 w 140"/>
              <a:gd name="T77" fmla="*/ 111 h 140"/>
              <a:gd name="T78" fmla="*/ 128 w 140"/>
              <a:gd name="T79" fmla="*/ 105 h 140"/>
              <a:gd name="T80" fmla="*/ 128 w 140"/>
              <a:gd name="T81" fmla="*/ 97 h 140"/>
              <a:gd name="T82" fmla="*/ 115 w 140"/>
              <a:gd name="T83" fmla="*/ 92 h 140"/>
              <a:gd name="T84" fmla="*/ 128 w 140"/>
              <a:gd name="T85" fmla="*/ 9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0">
                <a:moveTo>
                  <a:pt x="123" y="0"/>
                </a:moveTo>
                <a:cubicBezTo>
                  <a:pt x="63" y="0"/>
                  <a:pt x="63" y="0"/>
                  <a:pt x="63" y="0"/>
                </a:cubicBezTo>
                <a:cubicBezTo>
                  <a:pt x="66" y="3"/>
                  <a:pt x="68" y="6"/>
                  <a:pt x="70" y="9"/>
                </a:cubicBezTo>
                <a:cubicBezTo>
                  <a:pt x="71" y="11"/>
                  <a:pt x="73" y="14"/>
                  <a:pt x="74" y="16"/>
                </a:cubicBezTo>
                <a:cubicBezTo>
                  <a:pt x="76" y="19"/>
                  <a:pt x="78" y="21"/>
                  <a:pt x="79" y="24"/>
                </a:cubicBezTo>
                <a:cubicBezTo>
                  <a:pt x="80" y="26"/>
                  <a:pt x="82" y="29"/>
                  <a:pt x="83" y="31"/>
                </a:cubicBezTo>
                <a:cubicBezTo>
                  <a:pt x="84" y="33"/>
                  <a:pt x="85" y="35"/>
                  <a:pt x="86" y="37"/>
                </a:cubicBezTo>
                <a:cubicBezTo>
                  <a:pt x="86" y="37"/>
                  <a:pt x="86" y="37"/>
                  <a:pt x="86" y="37"/>
                </a:cubicBezTo>
                <a:cubicBezTo>
                  <a:pt x="88" y="40"/>
                  <a:pt x="88" y="42"/>
                  <a:pt x="89" y="43"/>
                </a:cubicBezTo>
                <a:cubicBezTo>
                  <a:pt x="90" y="45"/>
                  <a:pt x="91" y="47"/>
                  <a:pt x="91" y="49"/>
                </a:cubicBezTo>
                <a:cubicBezTo>
                  <a:pt x="93" y="52"/>
                  <a:pt x="93" y="53"/>
                  <a:pt x="93" y="53"/>
                </a:cubicBezTo>
                <a:cubicBezTo>
                  <a:pt x="94" y="55"/>
                  <a:pt x="94" y="56"/>
                  <a:pt x="94" y="57"/>
                </a:cubicBezTo>
                <a:cubicBezTo>
                  <a:pt x="97" y="70"/>
                  <a:pt x="88" y="82"/>
                  <a:pt x="75" y="84"/>
                </a:cubicBezTo>
                <a:cubicBezTo>
                  <a:pt x="74" y="85"/>
                  <a:pt x="73" y="85"/>
                  <a:pt x="71" y="85"/>
                </a:cubicBezTo>
                <a:cubicBezTo>
                  <a:pt x="65" y="85"/>
                  <a:pt x="59" y="82"/>
                  <a:pt x="55" y="78"/>
                </a:cubicBezTo>
                <a:cubicBezTo>
                  <a:pt x="51" y="75"/>
                  <a:pt x="49" y="71"/>
                  <a:pt x="48" y="66"/>
                </a:cubicBezTo>
                <a:cubicBezTo>
                  <a:pt x="48" y="65"/>
                  <a:pt x="48" y="65"/>
                  <a:pt x="48" y="65"/>
                </a:cubicBezTo>
                <a:cubicBezTo>
                  <a:pt x="48" y="65"/>
                  <a:pt x="48" y="64"/>
                  <a:pt x="47" y="62"/>
                </a:cubicBezTo>
                <a:cubicBezTo>
                  <a:pt x="47" y="62"/>
                  <a:pt x="47" y="61"/>
                  <a:pt x="47" y="59"/>
                </a:cubicBezTo>
                <a:cubicBezTo>
                  <a:pt x="46" y="58"/>
                  <a:pt x="46" y="57"/>
                  <a:pt x="45" y="55"/>
                </a:cubicBezTo>
                <a:cubicBezTo>
                  <a:pt x="45" y="53"/>
                  <a:pt x="44" y="51"/>
                  <a:pt x="43" y="49"/>
                </a:cubicBezTo>
                <a:cubicBezTo>
                  <a:pt x="43" y="47"/>
                  <a:pt x="42" y="45"/>
                  <a:pt x="41" y="43"/>
                </a:cubicBezTo>
                <a:cubicBezTo>
                  <a:pt x="40" y="40"/>
                  <a:pt x="39" y="38"/>
                  <a:pt x="38" y="36"/>
                </a:cubicBezTo>
                <a:cubicBezTo>
                  <a:pt x="37" y="33"/>
                  <a:pt x="36" y="31"/>
                  <a:pt x="35" y="29"/>
                </a:cubicBezTo>
                <a:cubicBezTo>
                  <a:pt x="33" y="24"/>
                  <a:pt x="30" y="19"/>
                  <a:pt x="28" y="15"/>
                </a:cubicBezTo>
                <a:cubicBezTo>
                  <a:pt x="27" y="12"/>
                  <a:pt x="26" y="10"/>
                  <a:pt x="25" y="8"/>
                </a:cubicBezTo>
                <a:cubicBezTo>
                  <a:pt x="23" y="6"/>
                  <a:pt x="22" y="4"/>
                  <a:pt x="21" y="2"/>
                </a:cubicBezTo>
                <a:cubicBezTo>
                  <a:pt x="21" y="2"/>
                  <a:pt x="20" y="1"/>
                  <a:pt x="20" y="0"/>
                </a:cubicBezTo>
                <a:cubicBezTo>
                  <a:pt x="18" y="0"/>
                  <a:pt x="18" y="0"/>
                  <a:pt x="18" y="0"/>
                </a:cubicBezTo>
                <a:cubicBezTo>
                  <a:pt x="8" y="0"/>
                  <a:pt x="0" y="8"/>
                  <a:pt x="0" y="17"/>
                </a:cubicBezTo>
                <a:cubicBezTo>
                  <a:pt x="0" y="123"/>
                  <a:pt x="0" y="123"/>
                  <a:pt x="0" y="123"/>
                </a:cubicBezTo>
                <a:cubicBezTo>
                  <a:pt x="0" y="132"/>
                  <a:pt x="8" y="140"/>
                  <a:pt x="18" y="140"/>
                </a:cubicBezTo>
                <a:cubicBezTo>
                  <a:pt x="23" y="140"/>
                  <a:pt x="23" y="140"/>
                  <a:pt x="23" y="140"/>
                </a:cubicBezTo>
                <a:cubicBezTo>
                  <a:pt x="23" y="140"/>
                  <a:pt x="23" y="140"/>
                  <a:pt x="23" y="140"/>
                </a:cubicBezTo>
                <a:cubicBezTo>
                  <a:pt x="23" y="140"/>
                  <a:pt x="24" y="139"/>
                  <a:pt x="24" y="139"/>
                </a:cubicBezTo>
                <a:cubicBezTo>
                  <a:pt x="24" y="139"/>
                  <a:pt x="24" y="139"/>
                  <a:pt x="24" y="139"/>
                </a:cubicBezTo>
                <a:cubicBezTo>
                  <a:pt x="25" y="138"/>
                  <a:pt x="26" y="137"/>
                  <a:pt x="26" y="136"/>
                </a:cubicBezTo>
                <a:cubicBezTo>
                  <a:pt x="27" y="135"/>
                  <a:pt x="27" y="134"/>
                  <a:pt x="28" y="134"/>
                </a:cubicBezTo>
                <a:cubicBezTo>
                  <a:pt x="28" y="133"/>
                  <a:pt x="29" y="132"/>
                  <a:pt x="29" y="132"/>
                </a:cubicBezTo>
                <a:cubicBezTo>
                  <a:pt x="30" y="130"/>
                  <a:pt x="31" y="128"/>
                  <a:pt x="32" y="127"/>
                </a:cubicBezTo>
                <a:cubicBezTo>
                  <a:pt x="33" y="124"/>
                  <a:pt x="35" y="121"/>
                  <a:pt x="37" y="118"/>
                </a:cubicBezTo>
                <a:cubicBezTo>
                  <a:pt x="37" y="120"/>
                  <a:pt x="37" y="123"/>
                  <a:pt x="37" y="125"/>
                </a:cubicBezTo>
                <a:cubicBezTo>
                  <a:pt x="37" y="129"/>
                  <a:pt x="37" y="132"/>
                  <a:pt x="37" y="135"/>
                </a:cubicBezTo>
                <a:cubicBezTo>
                  <a:pt x="37" y="137"/>
                  <a:pt x="37" y="138"/>
                  <a:pt x="37" y="140"/>
                </a:cubicBezTo>
                <a:cubicBezTo>
                  <a:pt x="42" y="140"/>
                  <a:pt x="42" y="140"/>
                  <a:pt x="42" y="140"/>
                </a:cubicBezTo>
                <a:cubicBezTo>
                  <a:pt x="42" y="139"/>
                  <a:pt x="42" y="137"/>
                  <a:pt x="43" y="135"/>
                </a:cubicBezTo>
                <a:cubicBezTo>
                  <a:pt x="43" y="132"/>
                  <a:pt x="44" y="129"/>
                  <a:pt x="44" y="126"/>
                </a:cubicBezTo>
                <a:cubicBezTo>
                  <a:pt x="44" y="122"/>
                  <a:pt x="45" y="119"/>
                  <a:pt x="45" y="115"/>
                </a:cubicBezTo>
                <a:cubicBezTo>
                  <a:pt x="46" y="109"/>
                  <a:pt x="46" y="102"/>
                  <a:pt x="46" y="97"/>
                </a:cubicBezTo>
                <a:cubicBezTo>
                  <a:pt x="47" y="95"/>
                  <a:pt x="48" y="94"/>
                  <a:pt x="48" y="92"/>
                </a:cubicBezTo>
                <a:cubicBezTo>
                  <a:pt x="49" y="91"/>
                  <a:pt x="49" y="90"/>
                  <a:pt x="50" y="89"/>
                </a:cubicBezTo>
                <a:cubicBezTo>
                  <a:pt x="56" y="93"/>
                  <a:pt x="63" y="96"/>
                  <a:pt x="71" y="96"/>
                </a:cubicBezTo>
                <a:cubicBezTo>
                  <a:pt x="73" y="96"/>
                  <a:pt x="75" y="96"/>
                  <a:pt x="77" y="95"/>
                </a:cubicBezTo>
                <a:cubicBezTo>
                  <a:pt x="81" y="95"/>
                  <a:pt x="85" y="93"/>
                  <a:pt x="88" y="91"/>
                </a:cubicBezTo>
                <a:cubicBezTo>
                  <a:pt x="88" y="92"/>
                  <a:pt x="88" y="92"/>
                  <a:pt x="88" y="93"/>
                </a:cubicBezTo>
                <a:cubicBezTo>
                  <a:pt x="88" y="93"/>
                  <a:pt x="87" y="98"/>
                  <a:pt x="85" y="105"/>
                </a:cubicBezTo>
                <a:cubicBezTo>
                  <a:pt x="83" y="112"/>
                  <a:pt x="81" y="121"/>
                  <a:pt x="77" y="131"/>
                </a:cubicBezTo>
                <a:cubicBezTo>
                  <a:pt x="77" y="134"/>
                  <a:pt x="75" y="137"/>
                  <a:pt x="74" y="140"/>
                </a:cubicBezTo>
                <a:cubicBezTo>
                  <a:pt x="123" y="140"/>
                  <a:pt x="123" y="140"/>
                  <a:pt x="123" y="140"/>
                </a:cubicBezTo>
                <a:cubicBezTo>
                  <a:pt x="133" y="140"/>
                  <a:pt x="140" y="132"/>
                  <a:pt x="140" y="123"/>
                </a:cubicBezTo>
                <a:cubicBezTo>
                  <a:pt x="140" y="17"/>
                  <a:pt x="140" y="17"/>
                  <a:pt x="140" y="17"/>
                </a:cubicBezTo>
                <a:cubicBezTo>
                  <a:pt x="140" y="8"/>
                  <a:pt x="133" y="0"/>
                  <a:pt x="123" y="0"/>
                </a:cubicBezTo>
                <a:close/>
                <a:moveTo>
                  <a:pt x="100" y="80"/>
                </a:moveTo>
                <a:cubicBezTo>
                  <a:pt x="105" y="73"/>
                  <a:pt x="107" y="64"/>
                  <a:pt x="105" y="55"/>
                </a:cubicBezTo>
                <a:cubicBezTo>
                  <a:pt x="105" y="53"/>
                  <a:pt x="104" y="51"/>
                  <a:pt x="104" y="50"/>
                </a:cubicBezTo>
                <a:cubicBezTo>
                  <a:pt x="102" y="45"/>
                  <a:pt x="102" y="45"/>
                  <a:pt x="102" y="45"/>
                </a:cubicBezTo>
                <a:cubicBezTo>
                  <a:pt x="101" y="43"/>
                  <a:pt x="101" y="42"/>
                  <a:pt x="100" y="40"/>
                </a:cubicBezTo>
                <a:cubicBezTo>
                  <a:pt x="100" y="40"/>
                  <a:pt x="100" y="39"/>
                  <a:pt x="99" y="39"/>
                </a:cubicBezTo>
                <a:cubicBezTo>
                  <a:pt x="99" y="38"/>
                  <a:pt x="99" y="37"/>
                  <a:pt x="98" y="36"/>
                </a:cubicBezTo>
                <a:cubicBezTo>
                  <a:pt x="109" y="38"/>
                  <a:pt x="117" y="47"/>
                  <a:pt x="117" y="58"/>
                </a:cubicBezTo>
                <a:cubicBezTo>
                  <a:pt x="117" y="69"/>
                  <a:pt x="110" y="78"/>
                  <a:pt x="100" y="80"/>
                </a:cubicBezTo>
                <a:close/>
                <a:moveTo>
                  <a:pt x="128" y="128"/>
                </a:moveTo>
                <a:cubicBezTo>
                  <a:pt x="115" y="128"/>
                  <a:pt x="115" y="128"/>
                  <a:pt x="115" y="128"/>
                </a:cubicBezTo>
                <a:cubicBezTo>
                  <a:pt x="115" y="119"/>
                  <a:pt x="115" y="119"/>
                  <a:pt x="115" y="119"/>
                </a:cubicBezTo>
                <a:cubicBezTo>
                  <a:pt x="128" y="119"/>
                  <a:pt x="128" y="119"/>
                  <a:pt x="128" y="119"/>
                </a:cubicBezTo>
                <a:lnTo>
                  <a:pt x="128" y="128"/>
                </a:lnTo>
                <a:close/>
                <a:moveTo>
                  <a:pt x="128" y="111"/>
                </a:moveTo>
                <a:cubicBezTo>
                  <a:pt x="115" y="111"/>
                  <a:pt x="115" y="111"/>
                  <a:pt x="115" y="111"/>
                </a:cubicBezTo>
                <a:cubicBezTo>
                  <a:pt x="115" y="105"/>
                  <a:pt x="115" y="105"/>
                  <a:pt x="115" y="105"/>
                </a:cubicBezTo>
                <a:cubicBezTo>
                  <a:pt x="128" y="105"/>
                  <a:pt x="128" y="105"/>
                  <a:pt x="128" y="105"/>
                </a:cubicBezTo>
                <a:lnTo>
                  <a:pt x="128" y="111"/>
                </a:lnTo>
                <a:close/>
                <a:moveTo>
                  <a:pt x="128" y="97"/>
                </a:moveTo>
                <a:cubicBezTo>
                  <a:pt x="115" y="97"/>
                  <a:pt x="115" y="97"/>
                  <a:pt x="115" y="97"/>
                </a:cubicBezTo>
                <a:cubicBezTo>
                  <a:pt x="115" y="92"/>
                  <a:pt x="115" y="92"/>
                  <a:pt x="115" y="92"/>
                </a:cubicBezTo>
                <a:cubicBezTo>
                  <a:pt x="128" y="92"/>
                  <a:pt x="128" y="92"/>
                  <a:pt x="128" y="92"/>
                </a:cubicBezTo>
                <a:lnTo>
                  <a:pt x="128" y="97"/>
                </a:lnTo>
                <a:close/>
              </a:path>
            </a:pathLst>
          </a:custGeom>
          <a:solidFill>
            <a:srgbClr val="FFFFFF"/>
          </a:solidFill>
          <a:ln>
            <a:noFill/>
          </a:ln>
        </p:spPr>
        <p:txBody>
          <a:bodyPr vert="horz" wrap="square" lIns="91337" tIns="467482" rIns="91337" bIns="45669" numCol="1" anchor="ctr" anchorCtr="0" compatLnSpc="1">
            <a:prstTxWarp prst="textNoShape">
              <a:avLst/>
            </a:prstTxWarp>
          </a:bodyPr>
          <a:lstStyle/>
          <a:p>
            <a:pPr defTabSz="994582">
              <a:defRPr/>
            </a:pPr>
            <a:endParaRPr lang="fr-FR" sz="2100" kern="0">
              <a:solidFill>
                <a:srgbClr val="FFFFFF"/>
              </a:solidFill>
              <a:latin typeface="Calibri"/>
            </a:endParaRPr>
          </a:p>
        </p:txBody>
      </p:sp>
      <p:grpSp>
        <p:nvGrpSpPr>
          <p:cNvPr id="61" name="Group 88">
            <a:extLst>
              <a:ext uri="{FF2B5EF4-FFF2-40B4-BE49-F238E27FC236}">
                <a16:creationId xmlns:a16="http://schemas.microsoft.com/office/drawing/2014/main" id="{5C7C57C0-A3BE-45B6-8E50-C7520613466C}"/>
              </a:ext>
            </a:extLst>
          </p:cNvPr>
          <p:cNvGrpSpPr>
            <a:grpSpLocks noChangeAspect="1"/>
          </p:cNvGrpSpPr>
          <p:nvPr/>
        </p:nvGrpSpPr>
        <p:grpSpPr>
          <a:xfrm>
            <a:off x="7306887" y="2611994"/>
            <a:ext cx="367403" cy="465158"/>
            <a:chOff x="7699375" y="3833813"/>
            <a:chExt cx="715963" cy="906462"/>
          </a:xfrm>
        </p:grpSpPr>
        <p:sp>
          <p:nvSpPr>
            <p:cNvPr id="62" name="Freeform 38">
              <a:extLst>
                <a:ext uri="{FF2B5EF4-FFF2-40B4-BE49-F238E27FC236}">
                  <a16:creationId xmlns:a16="http://schemas.microsoft.com/office/drawing/2014/main" id="{E839AB22-CF87-4E1B-A71F-913BC42AB8E9}"/>
                </a:ext>
              </a:extLst>
            </p:cNvPr>
            <p:cNvSpPr>
              <a:spLocks noEditPoints="1"/>
            </p:cNvSpPr>
            <p:nvPr/>
          </p:nvSpPr>
          <p:spPr bwMode="auto">
            <a:xfrm>
              <a:off x="7699375" y="3919538"/>
              <a:ext cx="715963" cy="820737"/>
            </a:xfrm>
            <a:custGeom>
              <a:avLst/>
              <a:gdLst>
                <a:gd name="T0" fmla="*/ 170 w 191"/>
                <a:gd name="T1" fmla="*/ 0 h 219"/>
                <a:gd name="T2" fmla="*/ 147 w 191"/>
                <a:gd name="T3" fmla="*/ 0 h 219"/>
                <a:gd name="T4" fmla="*/ 147 w 191"/>
                <a:gd name="T5" fmla="*/ 7 h 219"/>
                <a:gd name="T6" fmla="*/ 147 w 191"/>
                <a:gd name="T7" fmla="*/ 11 h 219"/>
                <a:gd name="T8" fmla="*/ 158 w 191"/>
                <a:gd name="T9" fmla="*/ 11 h 219"/>
                <a:gd name="T10" fmla="*/ 174 w 191"/>
                <a:gd name="T11" fmla="*/ 27 h 219"/>
                <a:gd name="T12" fmla="*/ 174 w 191"/>
                <a:gd name="T13" fmla="*/ 183 h 219"/>
                <a:gd name="T14" fmla="*/ 158 w 191"/>
                <a:gd name="T15" fmla="*/ 199 h 219"/>
                <a:gd name="T16" fmla="*/ 85 w 191"/>
                <a:gd name="T17" fmla="*/ 199 h 219"/>
                <a:gd name="T18" fmla="*/ 69 w 191"/>
                <a:gd name="T19" fmla="*/ 183 h 219"/>
                <a:gd name="T20" fmla="*/ 68 w 191"/>
                <a:gd name="T21" fmla="*/ 155 h 219"/>
                <a:gd name="T22" fmla="*/ 59 w 191"/>
                <a:gd name="T23" fmla="*/ 146 h 219"/>
                <a:gd name="T24" fmla="*/ 33 w 191"/>
                <a:gd name="T25" fmla="*/ 146 h 219"/>
                <a:gd name="T26" fmla="*/ 17 w 191"/>
                <a:gd name="T27" fmla="*/ 131 h 219"/>
                <a:gd name="T28" fmla="*/ 17 w 191"/>
                <a:gd name="T29" fmla="*/ 27 h 219"/>
                <a:gd name="T30" fmla="*/ 33 w 191"/>
                <a:gd name="T31" fmla="*/ 11 h 219"/>
                <a:gd name="T32" fmla="*/ 41 w 191"/>
                <a:gd name="T33" fmla="*/ 11 h 219"/>
                <a:gd name="T34" fmla="*/ 41 w 191"/>
                <a:gd name="T35" fmla="*/ 0 h 219"/>
                <a:gd name="T36" fmla="*/ 22 w 191"/>
                <a:gd name="T37" fmla="*/ 0 h 219"/>
                <a:gd name="T38" fmla="*/ 0 w 191"/>
                <a:gd name="T39" fmla="*/ 21 h 219"/>
                <a:gd name="T40" fmla="*/ 0 w 191"/>
                <a:gd name="T41" fmla="*/ 198 h 219"/>
                <a:gd name="T42" fmla="*/ 22 w 191"/>
                <a:gd name="T43" fmla="*/ 219 h 219"/>
                <a:gd name="T44" fmla="*/ 170 w 191"/>
                <a:gd name="T45" fmla="*/ 219 h 219"/>
                <a:gd name="T46" fmla="*/ 191 w 191"/>
                <a:gd name="T47" fmla="*/ 198 h 219"/>
                <a:gd name="T48" fmla="*/ 191 w 191"/>
                <a:gd name="T49" fmla="*/ 21 h 219"/>
                <a:gd name="T50" fmla="*/ 170 w 191"/>
                <a:gd name="T51" fmla="*/ 0 h 219"/>
                <a:gd name="T52" fmla="*/ 54 w 191"/>
                <a:gd name="T53" fmla="*/ 184 h 219"/>
                <a:gd name="T54" fmla="*/ 33 w 191"/>
                <a:gd name="T55" fmla="*/ 161 h 219"/>
                <a:gd name="T56" fmla="*/ 21 w 191"/>
                <a:gd name="T57" fmla="*/ 144 h 219"/>
                <a:gd name="T58" fmla="*/ 42 w 191"/>
                <a:gd name="T59" fmla="*/ 152 h 219"/>
                <a:gd name="T60" fmla="*/ 50 w 191"/>
                <a:gd name="T61" fmla="*/ 152 h 219"/>
                <a:gd name="T62" fmla="*/ 62 w 191"/>
                <a:gd name="T63" fmla="*/ 164 h 219"/>
                <a:gd name="T64" fmla="*/ 62 w 191"/>
                <a:gd name="T65" fmla="*/ 174 h 219"/>
                <a:gd name="T66" fmla="*/ 70 w 191"/>
                <a:gd name="T67" fmla="*/ 194 h 219"/>
                <a:gd name="T68" fmla="*/ 54 w 191"/>
                <a:gd name="T69"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1" h="219">
                  <a:moveTo>
                    <a:pt x="170" y="0"/>
                  </a:moveTo>
                  <a:cubicBezTo>
                    <a:pt x="147" y="0"/>
                    <a:pt x="147" y="0"/>
                    <a:pt x="147" y="0"/>
                  </a:cubicBezTo>
                  <a:cubicBezTo>
                    <a:pt x="147" y="7"/>
                    <a:pt x="147" y="7"/>
                    <a:pt x="147" y="7"/>
                  </a:cubicBezTo>
                  <a:cubicBezTo>
                    <a:pt x="147" y="11"/>
                    <a:pt x="147" y="11"/>
                    <a:pt x="147" y="11"/>
                  </a:cubicBezTo>
                  <a:cubicBezTo>
                    <a:pt x="158" y="11"/>
                    <a:pt x="158" y="11"/>
                    <a:pt x="158" y="11"/>
                  </a:cubicBezTo>
                  <a:cubicBezTo>
                    <a:pt x="167" y="11"/>
                    <a:pt x="174" y="18"/>
                    <a:pt x="174" y="27"/>
                  </a:cubicBezTo>
                  <a:cubicBezTo>
                    <a:pt x="174" y="183"/>
                    <a:pt x="174" y="183"/>
                    <a:pt x="174" y="183"/>
                  </a:cubicBezTo>
                  <a:cubicBezTo>
                    <a:pt x="174" y="191"/>
                    <a:pt x="167" y="199"/>
                    <a:pt x="158" y="199"/>
                  </a:cubicBezTo>
                  <a:cubicBezTo>
                    <a:pt x="85" y="199"/>
                    <a:pt x="85" y="199"/>
                    <a:pt x="85" y="199"/>
                  </a:cubicBezTo>
                  <a:cubicBezTo>
                    <a:pt x="76" y="199"/>
                    <a:pt x="69" y="191"/>
                    <a:pt x="69" y="183"/>
                  </a:cubicBezTo>
                  <a:cubicBezTo>
                    <a:pt x="68" y="155"/>
                    <a:pt x="68" y="155"/>
                    <a:pt x="68" y="155"/>
                  </a:cubicBezTo>
                  <a:cubicBezTo>
                    <a:pt x="68" y="150"/>
                    <a:pt x="64" y="146"/>
                    <a:pt x="59" y="146"/>
                  </a:cubicBezTo>
                  <a:cubicBezTo>
                    <a:pt x="33" y="146"/>
                    <a:pt x="33" y="146"/>
                    <a:pt x="33" y="146"/>
                  </a:cubicBezTo>
                  <a:cubicBezTo>
                    <a:pt x="24" y="146"/>
                    <a:pt x="17" y="139"/>
                    <a:pt x="17" y="131"/>
                  </a:cubicBezTo>
                  <a:cubicBezTo>
                    <a:pt x="17" y="27"/>
                    <a:pt x="17" y="27"/>
                    <a:pt x="17" y="27"/>
                  </a:cubicBezTo>
                  <a:cubicBezTo>
                    <a:pt x="17" y="18"/>
                    <a:pt x="24" y="11"/>
                    <a:pt x="33" y="11"/>
                  </a:cubicBezTo>
                  <a:cubicBezTo>
                    <a:pt x="41" y="11"/>
                    <a:pt x="41" y="11"/>
                    <a:pt x="41" y="11"/>
                  </a:cubicBezTo>
                  <a:cubicBezTo>
                    <a:pt x="41" y="0"/>
                    <a:pt x="41" y="0"/>
                    <a:pt x="41" y="0"/>
                  </a:cubicBezTo>
                  <a:cubicBezTo>
                    <a:pt x="22" y="0"/>
                    <a:pt x="22" y="0"/>
                    <a:pt x="22" y="0"/>
                  </a:cubicBezTo>
                  <a:cubicBezTo>
                    <a:pt x="10" y="0"/>
                    <a:pt x="0" y="10"/>
                    <a:pt x="0" y="21"/>
                  </a:cubicBezTo>
                  <a:cubicBezTo>
                    <a:pt x="0" y="198"/>
                    <a:pt x="0" y="198"/>
                    <a:pt x="0" y="198"/>
                  </a:cubicBezTo>
                  <a:cubicBezTo>
                    <a:pt x="0" y="209"/>
                    <a:pt x="10" y="219"/>
                    <a:pt x="22" y="219"/>
                  </a:cubicBezTo>
                  <a:cubicBezTo>
                    <a:pt x="170" y="219"/>
                    <a:pt x="170" y="219"/>
                    <a:pt x="170" y="219"/>
                  </a:cubicBezTo>
                  <a:cubicBezTo>
                    <a:pt x="181" y="219"/>
                    <a:pt x="191" y="209"/>
                    <a:pt x="191" y="198"/>
                  </a:cubicBezTo>
                  <a:cubicBezTo>
                    <a:pt x="191" y="21"/>
                    <a:pt x="191" y="21"/>
                    <a:pt x="191" y="21"/>
                  </a:cubicBezTo>
                  <a:cubicBezTo>
                    <a:pt x="191" y="10"/>
                    <a:pt x="181" y="0"/>
                    <a:pt x="170" y="0"/>
                  </a:cubicBezTo>
                  <a:close/>
                  <a:moveTo>
                    <a:pt x="54" y="184"/>
                  </a:moveTo>
                  <a:cubicBezTo>
                    <a:pt x="33" y="161"/>
                    <a:pt x="33" y="161"/>
                    <a:pt x="33" y="161"/>
                  </a:cubicBezTo>
                  <a:cubicBezTo>
                    <a:pt x="28" y="156"/>
                    <a:pt x="19" y="144"/>
                    <a:pt x="21" y="144"/>
                  </a:cubicBezTo>
                  <a:cubicBezTo>
                    <a:pt x="22" y="144"/>
                    <a:pt x="29" y="152"/>
                    <a:pt x="42" y="152"/>
                  </a:cubicBezTo>
                  <a:cubicBezTo>
                    <a:pt x="50" y="152"/>
                    <a:pt x="50" y="152"/>
                    <a:pt x="50" y="152"/>
                  </a:cubicBezTo>
                  <a:cubicBezTo>
                    <a:pt x="57" y="152"/>
                    <a:pt x="62" y="157"/>
                    <a:pt x="62" y="164"/>
                  </a:cubicBezTo>
                  <a:cubicBezTo>
                    <a:pt x="62" y="174"/>
                    <a:pt x="62" y="174"/>
                    <a:pt x="62" y="174"/>
                  </a:cubicBezTo>
                  <a:cubicBezTo>
                    <a:pt x="62" y="186"/>
                    <a:pt x="70" y="192"/>
                    <a:pt x="70" y="194"/>
                  </a:cubicBezTo>
                  <a:cubicBezTo>
                    <a:pt x="70" y="196"/>
                    <a:pt x="58" y="189"/>
                    <a:pt x="54" y="184"/>
                  </a:cubicBezTo>
                  <a:close/>
                </a:path>
              </a:pathLst>
            </a:custGeom>
            <a:solidFill>
              <a:srgbClr val="FFFFFF"/>
            </a:solidFill>
            <a:ln>
              <a:noFill/>
            </a:ln>
          </p:spPr>
          <p:txBody>
            <a:bodyPr vert="horz" wrap="square" lIns="91440" tIns="468000" rIns="91440" bIns="45720" numCol="1" anchor="ctr" anchorCtr="0" compatLnSpc="1">
              <a:prstTxWarp prst="textNoShape">
                <a:avLst/>
              </a:prstTxWarp>
            </a:bodyPr>
            <a:lstStyle/>
            <a:p>
              <a:pPr eaLnBrk="0" fontAlgn="base" hangingPunct="0">
                <a:spcBef>
                  <a:spcPct val="0"/>
                </a:spcBef>
                <a:spcAft>
                  <a:spcPct val="0"/>
                </a:spcAft>
                <a:defRPr/>
              </a:pPr>
              <a:endParaRPr lang="fr-FR" sz="1400" kern="0">
                <a:solidFill>
                  <a:srgbClr val="FFFFFF"/>
                </a:solidFill>
                <a:latin typeface="Arial" panose="020B0604020202020204" pitchFamily="34" charset="0"/>
              </a:endParaRPr>
            </a:p>
          </p:txBody>
        </p:sp>
        <p:sp>
          <p:nvSpPr>
            <p:cNvPr id="63" name="Freeform 39">
              <a:extLst>
                <a:ext uri="{FF2B5EF4-FFF2-40B4-BE49-F238E27FC236}">
                  <a16:creationId xmlns:a16="http://schemas.microsoft.com/office/drawing/2014/main" id="{88681E84-041E-4E57-A8A8-28C6312AA8F4}"/>
                </a:ext>
              </a:extLst>
            </p:cNvPr>
            <p:cNvSpPr>
              <a:spLocks noEditPoints="1"/>
            </p:cNvSpPr>
            <p:nvPr/>
          </p:nvSpPr>
          <p:spPr bwMode="auto">
            <a:xfrm>
              <a:off x="7878763" y="3833813"/>
              <a:ext cx="346075" cy="165100"/>
            </a:xfrm>
            <a:custGeom>
              <a:avLst/>
              <a:gdLst>
                <a:gd name="T0" fmla="*/ 82 w 92"/>
                <a:gd name="T1" fmla="*/ 12 h 44"/>
                <a:gd name="T2" fmla="*/ 64 w 92"/>
                <a:gd name="T3" fmla="*/ 12 h 44"/>
                <a:gd name="T4" fmla="*/ 46 w 92"/>
                <a:gd name="T5" fmla="*/ 0 h 44"/>
                <a:gd name="T6" fmla="*/ 28 w 92"/>
                <a:gd name="T7" fmla="*/ 12 h 44"/>
                <a:gd name="T8" fmla="*/ 10 w 92"/>
                <a:gd name="T9" fmla="*/ 12 h 44"/>
                <a:gd name="T10" fmla="*/ 0 w 92"/>
                <a:gd name="T11" fmla="*/ 22 h 44"/>
                <a:gd name="T12" fmla="*/ 0 w 92"/>
                <a:gd name="T13" fmla="*/ 26 h 44"/>
                <a:gd name="T14" fmla="*/ 0 w 92"/>
                <a:gd name="T15" fmla="*/ 44 h 44"/>
                <a:gd name="T16" fmla="*/ 92 w 92"/>
                <a:gd name="T17" fmla="*/ 44 h 44"/>
                <a:gd name="T18" fmla="*/ 92 w 92"/>
                <a:gd name="T19" fmla="*/ 26 h 44"/>
                <a:gd name="T20" fmla="*/ 92 w 92"/>
                <a:gd name="T21" fmla="*/ 22 h 44"/>
                <a:gd name="T22" fmla="*/ 82 w 92"/>
                <a:gd name="T23" fmla="*/ 12 h 44"/>
                <a:gd name="T24" fmla="*/ 46 w 92"/>
                <a:gd name="T25" fmla="*/ 22 h 44"/>
                <a:gd name="T26" fmla="*/ 38 w 92"/>
                <a:gd name="T27" fmla="*/ 14 h 44"/>
                <a:gd name="T28" fmla="*/ 46 w 92"/>
                <a:gd name="T29" fmla="*/ 6 h 44"/>
                <a:gd name="T30" fmla="*/ 53 w 92"/>
                <a:gd name="T31" fmla="*/ 14 h 44"/>
                <a:gd name="T32" fmla="*/ 46 w 92"/>
                <a:gd name="T3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44">
                  <a:moveTo>
                    <a:pt x="82" y="12"/>
                  </a:moveTo>
                  <a:cubicBezTo>
                    <a:pt x="64" y="12"/>
                    <a:pt x="64" y="12"/>
                    <a:pt x="64" y="12"/>
                  </a:cubicBezTo>
                  <a:cubicBezTo>
                    <a:pt x="64" y="5"/>
                    <a:pt x="53" y="0"/>
                    <a:pt x="46" y="0"/>
                  </a:cubicBezTo>
                  <a:cubicBezTo>
                    <a:pt x="39" y="0"/>
                    <a:pt x="28" y="5"/>
                    <a:pt x="28" y="12"/>
                  </a:cubicBezTo>
                  <a:cubicBezTo>
                    <a:pt x="10" y="12"/>
                    <a:pt x="10" y="12"/>
                    <a:pt x="10" y="12"/>
                  </a:cubicBezTo>
                  <a:cubicBezTo>
                    <a:pt x="4" y="12"/>
                    <a:pt x="0" y="17"/>
                    <a:pt x="0" y="22"/>
                  </a:cubicBezTo>
                  <a:cubicBezTo>
                    <a:pt x="0" y="26"/>
                    <a:pt x="0" y="26"/>
                    <a:pt x="0" y="26"/>
                  </a:cubicBezTo>
                  <a:cubicBezTo>
                    <a:pt x="0" y="44"/>
                    <a:pt x="0" y="44"/>
                    <a:pt x="0" y="44"/>
                  </a:cubicBezTo>
                  <a:cubicBezTo>
                    <a:pt x="92" y="44"/>
                    <a:pt x="92" y="44"/>
                    <a:pt x="92" y="44"/>
                  </a:cubicBezTo>
                  <a:cubicBezTo>
                    <a:pt x="92" y="26"/>
                    <a:pt x="92" y="26"/>
                    <a:pt x="92" y="26"/>
                  </a:cubicBezTo>
                  <a:cubicBezTo>
                    <a:pt x="92" y="22"/>
                    <a:pt x="92" y="22"/>
                    <a:pt x="92" y="22"/>
                  </a:cubicBezTo>
                  <a:cubicBezTo>
                    <a:pt x="92" y="17"/>
                    <a:pt x="88" y="12"/>
                    <a:pt x="82" y="12"/>
                  </a:cubicBezTo>
                  <a:close/>
                  <a:moveTo>
                    <a:pt x="46" y="22"/>
                  </a:moveTo>
                  <a:cubicBezTo>
                    <a:pt x="42" y="22"/>
                    <a:pt x="38" y="18"/>
                    <a:pt x="38" y="14"/>
                  </a:cubicBezTo>
                  <a:cubicBezTo>
                    <a:pt x="38" y="10"/>
                    <a:pt x="42" y="6"/>
                    <a:pt x="46" y="6"/>
                  </a:cubicBezTo>
                  <a:cubicBezTo>
                    <a:pt x="50" y="6"/>
                    <a:pt x="53" y="10"/>
                    <a:pt x="53" y="14"/>
                  </a:cubicBezTo>
                  <a:cubicBezTo>
                    <a:pt x="53" y="18"/>
                    <a:pt x="50" y="22"/>
                    <a:pt x="46" y="22"/>
                  </a:cubicBezTo>
                  <a:close/>
                </a:path>
              </a:pathLst>
            </a:custGeom>
            <a:solidFill>
              <a:srgbClr val="FFFFFF"/>
            </a:solidFill>
            <a:ln>
              <a:noFill/>
            </a:ln>
          </p:spPr>
          <p:txBody>
            <a:bodyPr vert="horz" wrap="square" lIns="91440" tIns="468000" rIns="91440" bIns="45720" numCol="1" anchor="ctr" anchorCtr="0" compatLnSpc="1">
              <a:prstTxWarp prst="textNoShape">
                <a:avLst/>
              </a:prstTxWarp>
            </a:bodyPr>
            <a:lstStyle/>
            <a:p>
              <a:pPr eaLnBrk="0" fontAlgn="base" hangingPunct="0">
                <a:spcBef>
                  <a:spcPct val="0"/>
                </a:spcBef>
                <a:spcAft>
                  <a:spcPct val="0"/>
                </a:spcAft>
                <a:defRPr/>
              </a:pPr>
              <a:endParaRPr lang="fr-FR" sz="1400" kern="0">
                <a:solidFill>
                  <a:srgbClr val="FFFFFF"/>
                </a:solidFill>
                <a:latin typeface="Arial" panose="020B0604020202020204" pitchFamily="34" charset="0"/>
              </a:endParaRPr>
            </a:p>
          </p:txBody>
        </p:sp>
        <p:sp>
          <p:nvSpPr>
            <p:cNvPr id="64" name="Freeform 40">
              <a:extLst>
                <a:ext uri="{FF2B5EF4-FFF2-40B4-BE49-F238E27FC236}">
                  <a16:creationId xmlns:a16="http://schemas.microsoft.com/office/drawing/2014/main" id="{76238486-5201-4944-86FC-D01131940DD4}"/>
                </a:ext>
              </a:extLst>
            </p:cNvPr>
            <p:cNvSpPr>
              <a:spLocks noEditPoints="1"/>
            </p:cNvSpPr>
            <p:nvPr/>
          </p:nvSpPr>
          <p:spPr bwMode="auto">
            <a:xfrm>
              <a:off x="7793038" y="3990975"/>
              <a:ext cx="533400" cy="644525"/>
            </a:xfrm>
            <a:custGeom>
              <a:avLst/>
              <a:gdLst>
                <a:gd name="T0" fmla="*/ 133 w 142"/>
                <a:gd name="T1" fmla="*/ 0 h 172"/>
                <a:gd name="T2" fmla="*/ 122 w 142"/>
                <a:gd name="T3" fmla="*/ 0 h 172"/>
                <a:gd name="T4" fmla="*/ 122 w 142"/>
                <a:gd name="T5" fmla="*/ 8 h 172"/>
                <a:gd name="T6" fmla="*/ 16 w 142"/>
                <a:gd name="T7" fmla="*/ 8 h 172"/>
                <a:gd name="T8" fmla="*/ 16 w 142"/>
                <a:gd name="T9" fmla="*/ 0 h 172"/>
                <a:gd name="T10" fmla="*/ 8 w 142"/>
                <a:gd name="T11" fmla="*/ 0 h 172"/>
                <a:gd name="T12" fmla="*/ 0 w 142"/>
                <a:gd name="T13" fmla="*/ 8 h 172"/>
                <a:gd name="T14" fmla="*/ 0 w 142"/>
                <a:gd name="T15" fmla="*/ 112 h 172"/>
                <a:gd name="T16" fmla="*/ 8 w 142"/>
                <a:gd name="T17" fmla="*/ 120 h 172"/>
                <a:gd name="T18" fmla="*/ 34 w 142"/>
                <a:gd name="T19" fmla="*/ 120 h 172"/>
                <a:gd name="T20" fmla="*/ 34 w 142"/>
                <a:gd name="T21" fmla="*/ 120 h 172"/>
                <a:gd name="T22" fmla="*/ 50 w 142"/>
                <a:gd name="T23" fmla="*/ 135 h 172"/>
                <a:gd name="T24" fmla="*/ 51 w 142"/>
                <a:gd name="T25" fmla="*/ 163 h 172"/>
                <a:gd name="T26" fmla="*/ 60 w 142"/>
                <a:gd name="T27" fmla="*/ 172 h 172"/>
                <a:gd name="T28" fmla="*/ 133 w 142"/>
                <a:gd name="T29" fmla="*/ 172 h 172"/>
                <a:gd name="T30" fmla="*/ 142 w 142"/>
                <a:gd name="T31" fmla="*/ 164 h 172"/>
                <a:gd name="T32" fmla="*/ 142 w 142"/>
                <a:gd name="T33" fmla="*/ 8 h 172"/>
                <a:gd name="T34" fmla="*/ 133 w 142"/>
                <a:gd name="T35" fmla="*/ 0 h 172"/>
                <a:gd name="T36" fmla="*/ 108 w 142"/>
                <a:gd name="T37" fmla="*/ 86 h 172"/>
                <a:gd name="T38" fmla="*/ 82 w 142"/>
                <a:gd name="T39" fmla="*/ 86 h 172"/>
                <a:gd name="T40" fmla="*/ 82 w 142"/>
                <a:gd name="T41" fmla="*/ 112 h 172"/>
                <a:gd name="T42" fmla="*/ 59 w 142"/>
                <a:gd name="T43" fmla="*/ 112 h 172"/>
                <a:gd name="T44" fmla="*/ 59 w 142"/>
                <a:gd name="T45" fmla="*/ 86 h 172"/>
                <a:gd name="T46" fmla="*/ 33 w 142"/>
                <a:gd name="T47" fmla="*/ 86 h 172"/>
                <a:gd name="T48" fmla="*/ 33 w 142"/>
                <a:gd name="T49" fmla="*/ 63 h 172"/>
                <a:gd name="T50" fmla="*/ 59 w 142"/>
                <a:gd name="T51" fmla="*/ 63 h 172"/>
                <a:gd name="T52" fmla="*/ 59 w 142"/>
                <a:gd name="T53" fmla="*/ 37 h 172"/>
                <a:gd name="T54" fmla="*/ 82 w 142"/>
                <a:gd name="T55" fmla="*/ 37 h 172"/>
                <a:gd name="T56" fmla="*/ 82 w 142"/>
                <a:gd name="T57" fmla="*/ 63 h 172"/>
                <a:gd name="T58" fmla="*/ 108 w 142"/>
                <a:gd name="T59" fmla="*/ 63 h 172"/>
                <a:gd name="T60" fmla="*/ 108 w 142"/>
                <a:gd name="T61"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72">
                  <a:moveTo>
                    <a:pt x="133" y="0"/>
                  </a:moveTo>
                  <a:cubicBezTo>
                    <a:pt x="122" y="0"/>
                    <a:pt x="122" y="0"/>
                    <a:pt x="122" y="0"/>
                  </a:cubicBezTo>
                  <a:cubicBezTo>
                    <a:pt x="122" y="8"/>
                    <a:pt x="122" y="8"/>
                    <a:pt x="122" y="8"/>
                  </a:cubicBezTo>
                  <a:cubicBezTo>
                    <a:pt x="16" y="8"/>
                    <a:pt x="16" y="8"/>
                    <a:pt x="16" y="8"/>
                  </a:cubicBezTo>
                  <a:cubicBezTo>
                    <a:pt x="16" y="0"/>
                    <a:pt x="16" y="0"/>
                    <a:pt x="16" y="0"/>
                  </a:cubicBezTo>
                  <a:cubicBezTo>
                    <a:pt x="8" y="0"/>
                    <a:pt x="8" y="0"/>
                    <a:pt x="8" y="0"/>
                  </a:cubicBezTo>
                  <a:cubicBezTo>
                    <a:pt x="3" y="0"/>
                    <a:pt x="0" y="3"/>
                    <a:pt x="0" y="8"/>
                  </a:cubicBezTo>
                  <a:cubicBezTo>
                    <a:pt x="0" y="112"/>
                    <a:pt x="0" y="112"/>
                    <a:pt x="0" y="112"/>
                  </a:cubicBezTo>
                  <a:cubicBezTo>
                    <a:pt x="0" y="116"/>
                    <a:pt x="3" y="120"/>
                    <a:pt x="8" y="120"/>
                  </a:cubicBezTo>
                  <a:cubicBezTo>
                    <a:pt x="34" y="120"/>
                    <a:pt x="34" y="120"/>
                    <a:pt x="34" y="120"/>
                  </a:cubicBezTo>
                  <a:cubicBezTo>
                    <a:pt x="34" y="120"/>
                    <a:pt x="34" y="120"/>
                    <a:pt x="34" y="120"/>
                  </a:cubicBezTo>
                  <a:cubicBezTo>
                    <a:pt x="43" y="120"/>
                    <a:pt x="50" y="127"/>
                    <a:pt x="50" y="135"/>
                  </a:cubicBezTo>
                  <a:cubicBezTo>
                    <a:pt x="51" y="163"/>
                    <a:pt x="51" y="163"/>
                    <a:pt x="51" y="163"/>
                  </a:cubicBezTo>
                  <a:cubicBezTo>
                    <a:pt x="51" y="168"/>
                    <a:pt x="55" y="172"/>
                    <a:pt x="60" y="172"/>
                  </a:cubicBezTo>
                  <a:cubicBezTo>
                    <a:pt x="133" y="172"/>
                    <a:pt x="133" y="172"/>
                    <a:pt x="133" y="172"/>
                  </a:cubicBezTo>
                  <a:cubicBezTo>
                    <a:pt x="138" y="172"/>
                    <a:pt x="142" y="168"/>
                    <a:pt x="142" y="164"/>
                  </a:cubicBezTo>
                  <a:cubicBezTo>
                    <a:pt x="142" y="8"/>
                    <a:pt x="142" y="8"/>
                    <a:pt x="142" y="8"/>
                  </a:cubicBezTo>
                  <a:cubicBezTo>
                    <a:pt x="142" y="3"/>
                    <a:pt x="138" y="0"/>
                    <a:pt x="133" y="0"/>
                  </a:cubicBezTo>
                  <a:close/>
                  <a:moveTo>
                    <a:pt x="108" y="86"/>
                  </a:moveTo>
                  <a:cubicBezTo>
                    <a:pt x="82" y="86"/>
                    <a:pt x="82" y="86"/>
                    <a:pt x="82" y="86"/>
                  </a:cubicBezTo>
                  <a:cubicBezTo>
                    <a:pt x="82" y="112"/>
                    <a:pt x="82" y="112"/>
                    <a:pt x="82" y="112"/>
                  </a:cubicBezTo>
                  <a:cubicBezTo>
                    <a:pt x="59" y="112"/>
                    <a:pt x="59" y="112"/>
                    <a:pt x="59" y="112"/>
                  </a:cubicBezTo>
                  <a:cubicBezTo>
                    <a:pt x="59" y="86"/>
                    <a:pt x="59" y="86"/>
                    <a:pt x="59" y="86"/>
                  </a:cubicBezTo>
                  <a:cubicBezTo>
                    <a:pt x="33" y="86"/>
                    <a:pt x="33" y="86"/>
                    <a:pt x="33" y="86"/>
                  </a:cubicBezTo>
                  <a:cubicBezTo>
                    <a:pt x="33" y="63"/>
                    <a:pt x="33" y="63"/>
                    <a:pt x="33" y="63"/>
                  </a:cubicBezTo>
                  <a:cubicBezTo>
                    <a:pt x="59" y="63"/>
                    <a:pt x="59" y="63"/>
                    <a:pt x="59" y="63"/>
                  </a:cubicBezTo>
                  <a:cubicBezTo>
                    <a:pt x="59" y="37"/>
                    <a:pt x="59" y="37"/>
                    <a:pt x="59" y="37"/>
                  </a:cubicBezTo>
                  <a:cubicBezTo>
                    <a:pt x="82" y="37"/>
                    <a:pt x="82" y="37"/>
                    <a:pt x="82" y="37"/>
                  </a:cubicBezTo>
                  <a:cubicBezTo>
                    <a:pt x="82" y="63"/>
                    <a:pt x="82" y="63"/>
                    <a:pt x="82" y="63"/>
                  </a:cubicBezTo>
                  <a:cubicBezTo>
                    <a:pt x="108" y="63"/>
                    <a:pt x="108" y="63"/>
                    <a:pt x="108" y="63"/>
                  </a:cubicBezTo>
                  <a:lnTo>
                    <a:pt x="108" y="86"/>
                  </a:lnTo>
                  <a:close/>
                </a:path>
              </a:pathLst>
            </a:custGeom>
            <a:solidFill>
              <a:srgbClr val="FFFFFF"/>
            </a:solidFill>
            <a:ln>
              <a:noFill/>
            </a:ln>
          </p:spPr>
          <p:txBody>
            <a:bodyPr vert="horz" wrap="square" lIns="91440" tIns="468000" rIns="91440" bIns="45720" numCol="1" anchor="ctr" anchorCtr="0" compatLnSpc="1">
              <a:prstTxWarp prst="textNoShape">
                <a:avLst/>
              </a:prstTxWarp>
            </a:bodyPr>
            <a:lstStyle/>
            <a:p>
              <a:pPr eaLnBrk="0" fontAlgn="base" hangingPunct="0">
                <a:spcBef>
                  <a:spcPct val="0"/>
                </a:spcBef>
                <a:spcAft>
                  <a:spcPct val="0"/>
                </a:spcAft>
                <a:defRPr/>
              </a:pPr>
              <a:endParaRPr lang="fr-FR" sz="1400" kern="0">
                <a:solidFill>
                  <a:srgbClr val="FFFFFF"/>
                </a:solidFill>
                <a:latin typeface="Arial" panose="020B0604020202020204" pitchFamily="34" charset="0"/>
              </a:endParaRPr>
            </a:p>
          </p:txBody>
        </p:sp>
      </p:grpSp>
      <p:grpSp>
        <p:nvGrpSpPr>
          <p:cNvPr id="65" name="Group 105">
            <a:extLst>
              <a:ext uri="{FF2B5EF4-FFF2-40B4-BE49-F238E27FC236}">
                <a16:creationId xmlns:a16="http://schemas.microsoft.com/office/drawing/2014/main" id="{3C23C270-6377-4318-B1BA-DDAD9C9543AB}"/>
              </a:ext>
            </a:extLst>
          </p:cNvPr>
          <p:cNvGrpSpPr/>
          <p:nvPr/>
        </p:nvGrpSpPr>
        <p:grpSpPr>
          <a:xfrm rot="16200000">
            <a:off x="9394793" y="2628573"/>
            <a:ext cx="468000" cy="432000"/>
            <a:chOff x="6078538" y="1484313"/>
            <a:chExt cx="528637" cy="525463"/>
          </a:xfrm>
          <a:solidFill>
            <a:srgbClr val="FFFFFF"/>
          </a:solidFill>
        </p:grpSpPr>
        <p:sp>
          <p:nvSpPr>
            <p:cNvPr id="66" name="Freeform 57">
              <a:extLst>
                <a:ext uri="{FF2B5EF4-FFF2-40B4-BE49-F238E27FC236}">
                  <a16:creationId xmlns:a16="http://schemas.microsoft.com/office/drawing/2014/main" id="{39C19B15-2C6C-46B3-B18E-692BAA9AA909}"/>
                </a:ext>
              </a:extLst>
            </p:cNvPr>
            <p:cNvSpPr>
              <a:spLocks/>
            </p:cNvSpPr>
            <p:nvPr/>
          </p:nvSpPr>
          <p:spPr bwMode="auto">
            <a:xfrm>
              <a:off x="6465888" y="1484313"/>
              <a:ext cx="141287" cy="142875"/>
            </a:xfrm>
            <a:custGeom>
              <a:avLst/>
              <a:gdLst>
                <a:gd name="T0" fmla="*/ 36 w 38"/>
                <a:gd name="T1" fmla="*/ 29 h 38"/>
                <a:gd name="T2" fmla="*/ 8 w 38"/>
                <a:gd name="T3" fmla="*/ 1 h 38"/>
                <a:gd name="T4" fmla="*/ 1 w 38"/>
                <a:gd name="T5" fmla="*/ 1 h 38"/>
                <a:gd name="T6" fmla="*/ 1 w 38"/>
                <a:gd name="T7" fmla="*/ 8 h 38"/>
                <a:gd name="T8" fmla="*/ 8 w 38"/>
                <a:gd name="T9" fmla="*/ 15 h 38"/>
                <a:gd name="T10" fmla="*/ 2 w 38"/>
                <a:gd name="T11" fmla="*/ 22 h 38"/>
                <a:gd name="T12" fmla="*/ 2 w 38"/>
                <a:gd name="T13" fmla="*/ 27 h 38"/>
                <a:gd name="T14" fmla="*/ 10 w 38"/>
                <a:gd name="T15" fmla="*/ 36 h 38"/>
                <a:gd name="T16" fmla="*/ 16 w 38"/>
                <a:gd name="T17" fmla="*/ 36 h 38"/>
                <a:gd name="T18" fmla="*/ 22 w 38"/>
                <a:gd name="T19" fmla="*/ 29 h 38"/>
                <a:gd name="T20" fmla="*/ 29 w 38"/>
                <a:gd name="T21" fmla="*/ 36 h 38"/>
                <a:gd name="T22" fmla="*/ 36 w 38"/>
                <a:gd name="T23" fmla="*/ 36 h 38"/>
                <a:gd name="T24" fmla="*/ 36 w 38"/>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36" y="29"/>
                  </a:moveTo>
                  <a:cubicBezTo>
                    <a:pt x="8" y="1"/>
                    <a:pt x="8" y="1"/>
                    <a:pt x="8" y="1"/>
                  </a:cubicBezTo>
                  <a:cubicBezTo>
                    <a:pt x="6" y="0"/>
                    <a:pt x="3" y="0"/>
                    <a:pt x="1" y="1"/>
                  </a:cubicBezTo>
                  <a:cubicBezTo>
                    <a:pt x="0" y="3"/>
                    <a:pt x="0" y="6"/>
                    <a:pt x="1" y="8"/>
                  </a:cubicBezTo>
                  <a:cubicBezTo>
                    <a:pt x="8" y="15"/>
                    <a:pt x="8" y="15"/>
                    <a:pt x="8" y="15"/>
                  </a:cubicBezTo>
                  <a:cubicBezTo>
                    <a:pt x="2" y="22"/>
                    <a:pt x="2" y="22"/>
                    <a:pt x="2" y="22"/>
                  </a:cubicBezTo>
                  <a:cubicBezTo>
                    <a:pt x="0" y="23"/>
                    <a:pt x="0" y="25"/>
                    <a:pt x="2" y="27"/>
                  </a:cubicBezTo>
                  <a:cubicBezTo>
                    <a:pt x="10" y="36"/>
                    <a:pt x="10" y="36"/>
                    <a:pt x="10" y="36"/>
                  </a:cubicBezTo>
                  <a:cubicBezTo>
                    <a:pt x="12" y="37"/>
                    <a:pt x="14" y="37"/>
                    <a:pt x="16" y="36"/>
                  </a:cubicBezTo>
                  <a:cubicBezTo>
                    <a:pt x="22" y="29"/>
                    <a:pt x="22" y="29"/>
                    <a:pt x="22" y="29"/>
                  </a:cubicBezTo>
                  <a:cubicBezTo>
                    <a:pt x="29" y="36"/>
                    <a:pt x="29" y="36"/>
                    <a:pt x="29" y="36"/>
                  </a:cubicBezTo>
                  <a:cubicBezTo>
                    <a:pt x="31" y="38"/>
                    <a:pt x="34" y="38"/>
                    <a:pt x="36" y="36"/>
                  </a:cubicBezTo>
                  <a:cubicBezTo>
                    <a:pt x="38" y="34"/>
                    <a:pt x="38" y="31"/>
                    <a:pt x="3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defRPr/>
              </a:pPr>
              <a:endParaRPr lang="fr-FR" sz="1400" kern="0">
                <a:solidFill>
                  <a:srgbClr val="0C419A"/>
                </a:solidFill>
                <a:latin typeface="Arial" panose="020B0604020202020204" pitchFamily="34" charset="0"/>
              </a:endParaRPr>
            </a:p>
          </p:txBody>
        </p:sp>
        <p:sp>
          <p:nvSpPr>
            <p:cNvPr id="67" name="Freeform 58">
              <a:extLst>
                <a:ext uri="{FF2B5EF4-FFF2-40B4-BE49-F238E27FC236}">
                  <a16:creationId xmlns:a16="http://schemas.microsoft.com/office/drawing/2014/main" id="{6BE9A735-C25A-426E-A99A-1C8C4DADD23B}"/>
                </a:ext>
              </a:extLst>
            </p:cNvPr>
            <p:cNvSpPr>
              <a:spLocks noEditPoints="1"/>
            </p:cNvSpPr>
            <p:nvPr/>
          </p:nvSpPr>
          <p:spPr bwMode="auto">
            <a:xfrm>
              <a:off x="6180138" y="1571626"/>
              <a:ext cx="338137" cy="341313"/>
            </a:xfrm>
            <a:custGeom>
              <a:avLst/>
              <a:gdLst>
                <a:gd name="T0" fmla="*/ 70 w 90"/>
                <a:gd name="T1" fmla="*/ 3 h 91"/>
                <a:gd name="T2" fmla="*/ 59 w 90"/>
                <a:gd name="T3" fmla="*/ 3 h 91"/>
                <a:gd name="T4" fmla="*/ 6 w 90"/>
                <a:gd name="T5" fmla="*/ 56 h 91"/>
                <a:gd name="T6" fmla="*/ 0 w 90"/>
                <a:gd name="T7" fmla="*/ 84 h 91"/>
                <a:gd name="T8" fmla="*/ 7 w 90"/>
                <a:gd name="T9" fmla="*/ 91 h 91"/>
                <a:gd name="T10" fmla="*/ 34 w 90"/>
                <a:gd name="T11" fmla="*/ 85 h 91"/>
                <a:gd name="T12" fmla="*/ 87 w 90"/>
                <a:gd name="T13" fmla="*/ 32 h 91"/>
                <a:gd name="T14" fmla="*/ 87 w 90"/>
                <a:gd name="T15" fmla="*/ 21 h 91"/>
                <a:gd name="T16" fmla="*/ 70 w 90"/>
                <a:gd name="T17" fmla="*/ 3 h 91"/>
                <a:gd name="T18" fmla="*/ 79 w 90"/>
                <a:gd name="T19" fmla="*/ 30 h 91"/>
                <a:gd name="T20" fmla="*/ 71 w 90"/>
                <a:gd name="T21" fmla="*/ 38 h 91"/>
                <a:gd name="T22" fmla="*/ 66 w 90"/>
                <a:gd name="T23" fmla="*/ 38 h 91"/>
                <a:gd name="T24" fmla="*/ 56 w 90"/>
                <a:gd name="T25" fmla="*/ 29 h 91"/>
                <a:gd name="T26" fmla="*/ 52 w 90"/>
                <a:gd name="T27" fmla="*/ 34 h 91"/>
                <a:gd name="T28" fmla="*/ 61 w 90"/>
                <a:gd name="T29" fmla="*/ 43 h 91"/>
                <a:gd name="T30" fmla="*/ 60 w 90"/>
                <a:gd name="T31" fmla="*/ 49 h 91"/>
                <a:gd name="T32" fmla="*/ 55 w 90"/>
                <a:gd name="T33" fmla="*/ 49 h 91"/>
                <a:gd name="T34" fmla="*/ 45 w 90"/>
                <a:gd name="T35" fmla="*/ 40 h 91"/>
                <a:gd name="T36" fmla="*/ 41 w 90"/>
                <a:gd name="T37" fmla="*/ 44 h 91"/>
                <a:gd name="T38" fmla="*/ 51 w 90"/>
                <a:gd name="T39" fmla="*/ 54 h 91"/>
                <a:gd name="T40" fmla="*/ 50 w 90"/>
                <a:gd name="T41" fmla="*/ 59 h 91"/>
                <a:gd name="T42" fmla="*/ 45 w 90"/>
                <a:gd name="T43" fmla="*/ 60 h 91"/>
                <a:gd name="T44" fmla="*/ 35 w 90"/>
                <a:gd name="T45" fmla="*/ 50 h 91"/>
                <a:gd name="T46" fmla="*/ 19 w 90"/>
                <a:gd name="T47" fmla="*/ 66 h 91"/>
                <a:gd name="T48" fmla="*/ 14 w 90"/>
                <a:gd name="T49" fmla="*/ 66 h 91"/>
                <a:gd name="T50" fmla="*/ 13 w 90"/>
                <a:gd name="T51" fmla="*/ 65 h 91"/>
                <a:gd name="T52" fmla="*/ 13 w 90"/>
                <a:gd name="T53" fmla="*/ 59 h 91"/>
                <a:gd name="T54" fmla="*/ 60 w 90"/>
                <a:gd name="T55" fmla="*/ 11 h 91"/>
                <a:gd name="T56" fmla="*/ 66 w 90"/>
                <a:gd name="T57" fmla="*/ 11 h 91"/>
                <a:gd name="T58" fmla="*/ 67 w 90"/>
                <a:gd name="T59" fmla="*/ 13 h 91"/>
                <a:gd name="T60" fmla="*/ 79 w 90"/>
                <a:gd name="T61" fmla="*/ 25 h 91"/>
                <a:gd name="T62" fmla="*/ 79 w 90"/>
                <a:gd name="T63"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0" h="91">
                  <a:moveTo>
                    <a:pt x="70" y="3"/>
                  </a:moveTo>
                  <a:cubicBezTo>
                    <a:pt x="67" y="0"/>
                    <a:pt x="62" y="0"/>
                    <a:pt x="59" y="3"/>
                  </a:cubicBezTo>
                  <a:cubicBezTo>
                    <a:pt x="6" y="56"/>
                    <a:pt x="6" y="56"/>
                    <a:pt x="6" y="56"/>
                  </a:cubicBezTo>
                  <a:cubicBezTo>
                    <a:pt x="3" y="59"/>
                    <a:pt x="0" y="75"/>
                    <a:pt x="0" y="84"/>
                  </a:cubicBezTo>
                  <a:cubicBezTo>
                    <a:pt x="7" y="91"/>
                    <a:pt x="7" y="91"/>
                    <a:pt x="7" y="91"/>
                  </a:cubicBezTo>
                  <a:cubicBezTo>
                    <a:pt x="16" y="91"/>
                    <a:pt x="32" y="87"/>
                    <a:pt x="34" y="85"/>
                  </a:cubicBezTo>
                  <a:cubicBezTo>
                    <a:pt x="87" y="32"/>
                    <a:pt x="87" y="32"/>
                    <a:pt x="87" y="32"/>
                  </a:cubicBezTo>
                  <a:cubicBezTo>
                    <a:pt x="90" y="29"/>
                    <a:pt x="90" y="24"/>
                    <a:pt x="87" y="21"/>
                  </a:cubicBezTo>
                  <a:lnTo>
                    <a:pt x="70" y="3"/>
                  </a:lnTo>
                  <a:close/>
                  <a:moveTo>
                    <a:pt x="79" y="30"/>
                  </a:moveTo>
                  <a:cubicBezTo>
                    <a:pt x="71" y="38"/>
                    <a:pt x="71" y="38"/>
                    <a:pt x="71" y="38"/>
                  </a:cubicBezTo>
                  <a:cubicBezTo>
                    <a:pt x="70" y="40"/>
                    <a:pt x="67" y="40"/>
                    <a:pt x="66" y="38"/>
                  </a:cubicBezTo>
                  <a:cubicBezTo>
                    <a:pt x="56" y="29"/>
                    <a:pt x="56" y="29"/>
                    <a:pt x="56" y="29"/>
                  </a:cubicBezTo>
                  <a:cubicBezTo>
                    <a:pt x="52" y="34"/>
                    <a:pt x="52" y="34"/>
                    <a:pt x="52" y="34"/>
                  </a:cubicBezTo>
                  <a:cubicBezTo>
                    <a:pt x="61" y="43"/>
                    <a:pt x="61" y="43"/>
                    <a:pt x="61" y="43"/>
                  </a:cubicBezTo>
                  <a:cubicBezTo>
                    <a:pt x="62" y="45"/>
                    <a:pt x="62" y="47"/>
                    <a:pt x="60" y="49"/>
                  </a:cubicBezTo>
                  <a:cubicBezTo>
                    <a:pt x="59" y="50"/>
                    <a:pt x="56" y="51"/>
                    <a:pt x="55" y="49"/>
                  </a:cubicBezTo>
                  <a:cubicBezTo>
                    <a:pt x="45" y="40"/>
                    <a:pt x="45" y="40"/>
                    <a:pt x="45" y="40"/>
                  </a:cubicBezTo>
                  <a:cubicBezTo>
                    <a:pt x="41" y="44"/>
                    <a:pt x="41" y="44"/>
                    <a:pt x="41" y="44"/>
                  </a:cubicBezTo>
                  <a:cubicBezTo>
                    <a:pt x="51" y="54"/>
                    <a:pt x="51" y="54"/>
                    <a:pt x="51" y="54"/>
                  </a:cubicBezTo>
                  <a:cubicBezTo>
                    <a:pt x="52" y="55"/>
                    <a:pt x="52" y="58"/>
                    <a:pt x="50" y="59"/>
                  </a:cubicBezTo>
                  <a:cubicBezTo>
                    <a:pt x="48" y="61"/>
                    <a:pt x="46" y="61"/>
                    <a:pt x="45" y="60"/>
                  </a:cubicBezTo>
                  <a:cubicBezTo>
                    <a:pt x="35" y="50"/>
                    <a:pt x="35" y="50"/>
                    <a:pt x="35" y="50"/>
                  </a:cubicBezTo>
                  <a:cubicBezTo>
                    <a:pt x="19" y="66"/>
                    <a:pt x="19" y="66"/>
                    <a:pt x="19" y="66"/>
                  </a:cubicBezTo>
                  <a:cubicBezTo>
                    <a:pt x="18" y="67"/>
                    <a:pt x="15" y="67"/>
                    <a:pt x="14" y="66"/>
                  </a:cubicBezTo>
                  <a:cubicBezTo>
                    <a:pt x="13" y="65"/>
                    <a:pt x="13" y="65"/>
                    <a:pt x="13" y="65"/>
                  </a:cubicBezTo>
                  <a:cubicBezTo>
                    <a:pt x="11" y="63"/>
                    <a:pt x="11" y="61"/>
                    <a:pt x="13" y="59"/>
                  </a:cubicBezTo>
                  <a:cubicBezTo>
                    <a:pt x="60" y="11"/>
                    <a:pt x="60" y="11"/>
                    <a:pt x="60" y="11"/>
                  </a:cubicBezTo>
                  <a:cubicBezTo>
                    <a:pt x="62" y="10"/>
                    <a:pt x="64" y="10"/>
                    <a:pt x="66" y="11"/>
                  </a:cubicBezTo>
                  <a:cubicBezTo>
                    <a:pt x="67" y="13"/>
                    <a:pt x="67" y="13"/>
                    <a:pt x="67" y="13"/>
                  </a:cubicBezTo>
                  <a:cubicBezTo>
                    <a:pt x="79" y="25"/>
                    <a:pt x="79" y="25"/>
                    <a:pt x="79" y="25"/>
                  </a:cubicBezTo>
                  <a:cubicBezTo>
                    <a:pt x="81" y="26"/>
                    <a:pt x="81" y="28"/>
                    <a:pt x="7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defRPr/>
              </a:pPr>
              <a:endParaRPr lang="fr-FR" sz="1400" kern="0">
                <a:solidFill>
                  <a:srgbClr val="0C419A"/>
                </a:solidFill>
                <a:latin typeface="Arial" panose="020B0604020202020204" pitchFamily="34" charset="0"/>
              </a:endParaRPr>
            </a:p>
          </p:txBody>
        </p:sp>
        <p:sp>
          <p:nvSpPr>
            <p:cNvPr id="68" name="Freeform 59">
              <a:extLst>
                <a:ext uri="{FF2B5EF4-FFF2-40B4-BE49-F238E27FC236}">
                  <a16:creationId xmlns:a16="http://schemas.microsoft.com/office/drawing/2014/main" id="{F95CA733-3F46-43D3-8B3B-9219E455DDEC}"/>
                </a:ext>
              </a:extLst>
            </p:cNvPr>
            <p:cNvSpPr>
              <a:spLocks/>
            </p:cNvSpPr>
            <p:nvPr/>
          </p:nvSpPr>
          <p:spPr bwMode="auto">
            <a:xfrm>
              <a:off x="6078538" y="1878013"/>
              <a:ext cx="131762" cy="131763"/>
            </a:xfrm>
            <a:custGeom>
              <a:avLst/>
              <a:gdLst>
                <a:gd name="T0" fmla="*/ 19 w 35"/>
                <a:gd name="T1" fmla="*/ 2 h 35"/>
                <a:gd name="T2" fmla="*/ 14 w 35"/>
                <a:gd name="T3" fmla="*/ 2 h 35"/>
                <a:gd name="T4" fmla="*/ 14 w 35"/>
                <a:gd name="T5" fmla="*/ 2 h 35"/>
                <a:gd name="T6" fmla="*/ 14 w 35"/>
                <a:gd name="T7" fmla="*/ 7 h 35"/>
                <a:gd name="T8" fmla="*/ 19 w 35"/>
                <a:gd name="T9" fmla="*/ 12 h 35"/>
                <a:gd name="T10" fmla="*/ 1 w 35"/>
                <a:gd name="T11" fmla="*/ 30 h 35"/>
                <a:gd name="T12" fmla="*/ 1 w 35"/>
                <a:gd name="T13" fmla="*/ 34 h 35"/>
                <a:gd name="T14" fmla="*/ 5 w 35"/>
                <a:gd name="T15" fmla="*/ 34 h 35"/>
                <a:gd name="T16" fmla="*/ 23 w 35"/>
                <a:gd name="T17" fmla="*/ 16 h 35"/>
                <a:gd name="T18" fmla="*/ 29 w 35"/>
                <a:gd name="T19" fmla="*/ 21 h 35"/>
                <a:gd name="T20" fmla="*/ 33 w 35"/>
                <a:gd name="T21" fmla="*/ 21 h 35"/>
                <a:gd name="T22" fmla="*/ 34 w 35"/>
                <a:gd name="T23" fmla="*/ 21 h 35"/>
                <a:gd name="T24" fmla="*/ 34 w 35"/>
                <a:gd name="T25" fmla="*/ 16 h 35"/>
                <a:gd name="T26" fmla="*/ 19 w 35"/>
                <a:gd name="T2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19" y="2"/>
                  </a:moveTo>
                  <a:cubicBezTo>
                    <a:pt x="18" y="0"/>
                    <a:pt x="16" y="0"/>
                    <a:pt x="14" y="2"/>
                  </a:cubicBezTo>
                  <a:cubicBezTo>
                    <a:pt x="14" y="2"/>
                    <a:pt x="14" y="2"/>
                    <a:pt x="14" y="2"/>
                  </a:cubicBezTo>
                  <a:cubicBezTo>
                    <a:pt x="13" y="3"/>
                    <a:pt x="13" y="5"/>
                    <a:pt x="14" y="7"/>
                  </a:cubicBezTo>
                  <a:cubicBezTo>
                    <a:pt x="19" y="12"/>
                    <a:pt x="19" y="12"/>
                    <a:pt x="19" y="12"/>
                  </a:cubicBezTo>
                  <a:cubicBezTo>
                    <a:pt x="1" y="30"/>
                    <a:pt x="1" y="30"/>
                    <a:pt x="1" y="30"/>
                  </a:cubicBezTo>
                  <a:cubicBezTo>
                    <a:pt x="0" y="31"/>
                    <a:pt x="0" y="33"/>
                    <a:pt x="1" y="34"/>
                  </a:cubicBezTo>
                  <a:cubicBezTo>
                    <a:pt x="2" y="35"/>
                    <a:pt x="4" y="35"/>
                    <a:pt x="5" y="34"/>
                  </a:cubicBezTo>
                  <a:cubicBezTo>
                    <a:pt x="23" y="16"/>
                    <a:pt x="23" y="16"/>
                    <a:pt x="23" y="16"/>
                  </a:cubicBezTo>
                  <a:cubicBezTo>
                    <a:pt x="29" y="21"/>
                    <a:pt x="29" y="21"/>
                    <a:pt x="29" y="21"/>
                  </a:cubicBezTo>
                  <a:cubicBezTo>
                    <a:pt x="30" y="23"/>
                    <a:pt x="32" y="23"/>
                    <a:pt x="33" y="21"/>
                  </a:cubicBezTo>
                  <a:cubicBezTo>
                    <a:pt x="34" y="21"/>
                    <a:pt x="34" y="21"/>
                    <a:pt x="34" y="21"/>
                  </a:cubicBezTo>
                  <a:cubicBezTo>
                    <a:pt x="35" y="20"/>
                    <a:pt x="35" y="18"/>
                    <a:pt x="34" y="16"/>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defRPr/>
              </a:pPr>
              <a:endParaRPr lang="fr-FR" sz="1400" kern="0">
                <a:solidFill>
                  <a:srgbClr val="0C419A"/>
                </a:solidFill>
                <a:latin typeface="Arial" panose="020B0604020202020204" pitchFamily="34" charset="0"/>
              </a:endParaRPr>
            </a:p>
          </p:txBody>
        </p:sp>
      </p:grpSp>
      <p:sp>
        <p:nvSpPr>
          <p:cNvPr id="69" name="Freeform 67">
            <a:extLst>
              <a:ext uri="{FF2B5EF4-FFF2-40B4-BE49-F238E27FC236}">
                <a16:creationId xmlns:a16="http://schemas.microsoft.com/office/drawing/2014/main" id="{F0A69ABA-25D5-46F4-B951-9C7CA4F0CB36}"/>
              </a:ext>
            </a:extLst>
          </p:cNvPr>
          <p:cNvSpPr>
            <a:spLocks noEditPoints="1"/>
          </p:cNvSpPr>
          <p:nvPr/>
        </p:nvSpPr>
        <p:spPr bwMode="auto">
          <a:xfrm>
            <a:off x="10813535" y="2574573"/>
            <a:ext cx="396000" cy="540001"/>
          </a:xfrm>
          <a:custGeom>
            <a:avLst/>
            <a:gdLst>
              <a:gd name="T0" fmla="*/ 1589 w 1820"/>
              <a:gd name="T1" fmla="*/ 1300 h 2450"/>
              <a:gd name="T2" fmla="*/ 1631 w 1820"/>
              <a:gd name="T3" fmla="*/ 1052 h 2450"/>
              <a:gd name="T4" fmla="*/ 1748 w 1820"/>
              <a:gd name="T5" fmla="*/ 829 h 2450"/>
              <a:gd name="T6" fmla="*/ 1672 w 1820"/>
              <a:gd name="T7" fmla="*/ 637 h 2450"/>
              <a:gd name="T8" fmla="*/ 1620 w 1820"/>
              <a:gd name="T9" fmla="*/ 388 h 2450"/>
              <a:gd name="T10" fmla="*/ 1459 w 1820"/>
              <a:gd name="T11" fmla="*/ 232 h 2450"/>
              <a:gd name="T12" fmla="*/ 1264 w 1820"/>
              <a:gd name="T13" fmla="*/ 78 h 2450"/>
              <a:gd name="T14" fmla="*/ 1101 w 1820"/>
              <a:gd name="T15" fmla="*/ 1 h 2450"/>
              <a:gd name="T16" fmla="*/ 869 w 1820"/>
              <a:gd name="T17" fmla="*/ 40 h 2450"/>
              <a:gd name="T18" fmla="*/ 650 w 1820"/>
              <a:gd name="T19" fmla="*/ 8 h 2450"/>
              <a:gd name="T20" fmla="*/ 461 w 1820"/>
              <a:gd name="T21" fmla="*/ 190 h 2450"/>
              <a:gd name="T22" fmla="*/ 237 w 1820"/>
              <a:gd name="T23" fmla="*/ 304 h 2450"/>
              <a:gd name="T24" fmla="*/ 190 w 1820"/>
              <a:gd name="T25" fmla="*/ 550 h 2450"/>
              <a:gd name="T26" fmla="*/ 75 w 1820"/>
              <a:gd name="T27" fmla="*/ 764 h 2450"/>
              <a:gd name="T28" fmla="*/ 147 w 1820"/>
              <a:gd name="T29" fmla="*/ 976 h 2450"/>
              <a:gd name="T30" fmla="*/ 199 w 1820"/>
              <a:gd name="T31" fmla="*/ 1224 h 2450"/>
              <a:gd name="T32" fmla="*/ 359 w 1820"/>
              <a:gd name="T33" fmla="*/ 1380 h 2450"/>
              <a:gd name="T34" fmla="*/ 909 w 1820"/>
              <a:gd name="T35" fmla="*/ 1462 h 2450"/>
              <a:gd name="T36" fmla="*/ 682 w 1820"/>
              <a:gd name="T37" fmla="*/ 1505 h 2450"/>
              <a:gd name="T38" fmla="*/ 539 w 1820"/>
              <a:gd name="T39" fmla="*/ 1350 h 2450"/>
              <a:gd name="T40" fmla="*/ 325 w 1820"/>
              <a:gd name="T41" fmla="*/ 1250 h 2450"/>
              <a:gd name="T42" fmla="*/ 296 w 1820"/>
              <a:gd name="T43" fmla="*/ 1066 h 2450"/>
              <a:gd name="T44" fmla="*/ 184 w 1820"/>
              <a:gd name="T45" fmla="*/ 842 h 2450"/>
              <a:gd name="T46" fmla="*/ 231 w 1820"/>
              <a:gd name="T47" fmla="*/ 698 h 2450"/>
              <a:gd name="T48" fmla="*/ 299 w 1820"/>
              <a:gd name="T49" fmla="*/ 431 h 2450"/>
              <a:gd name="T50" fmla="*/ 392 w 1820"/>
              <a:gd name="T51" fmla="*/ 331 h 2450"/>
              <a:gd name="T52" fmla="*/ 617 w 1820"/>
              <a:gd name="T53" fmla="*/ 169 h 2450"/>
              <a:gd name="T54" fmla="*/ 706 w 1820"/>
              <a:gd name="T55" fmla="*/ 104 h 2450"/>
              <a:gd name="T56" fmla="*/ 942 w 1820"/>
              <a:gd name="T57" fmla="*/ 147 h 2450"/>
              <a:gd name="T58" fmla="*/ 1143 w 1820"/>
              <a:gd name="T59" fmla="*/ 109 h 2450"/>
              <a:gd name="T60" fmla="*/ 1295 w 1820"/>
              <a:gd name="T61" fmla="*/ 276 h 2450"/>
              <a:gd name="T62" fmla="*/ 1504 w 1820"/>
              <a:gd name="T63" fmla="*/ 374 h 2450"/>
              <a:gd name="T64" fmla="*/ 1528 w 1820"/>
              <a:gd name="T65" fmla="*/ 585 h 2450"/>
              <a:gd name="T66" fmla="*/ 1643 w 1820"/>
              <a:gd name="T67" fmla="*/ 790 h 2450"/>
              <a:gd name="T68" fmla="*/ 1558 w 1820"/>
              <a:gd name="T69" fmla="*/ 958 h 2450"/>
              <a:gd name="T70" fmla="*/ 1516 w 1820"/>
              <a:gd name="T71" fmla="*/ 1206 h 2450"/>
              <a:gd name="T72" fmla="*/ 1395 w 1820"/>
              <a:gd name="T73" fmla="*/ 1291 h 2450"/>
              <a:gd name="T74" fmla="*/ 1183 w 1820"/>
              <a:gd name="T75" fmla="*/ 1468 h 2450"/>
              <a:gd name="T76" fmla="*/ 1069 w 1820"/>
              <a:gd name="T77" fmla="*/ 1500 h 2450"/>
              <a:gd name="T78" fmla="*/ 1179 w 1820"/>
              <a:gd name="T79" fmla="*/ 1602 h 2450"/>
              <a:gd name="T80" fmla="*/ 935 w 1820"/>
              <a:gd name="T81" fmla="*/ 1739 h 2450"/>
              <a:gd name="T82" fmla="*/ 1458 w 1820"/>
              <a:gd name="T83" fmla="*/ 778 h 2450"/>
              <a:gd name="T84" fmla="*/ 1315 w 1820"/>
              <a:gd name="T85" fmla="*/ 438 h 2450"/>
              <a:gd name="T86" fmla="*/ 993 w 1820"/>
              <a:gd name="T87" fmla="*/ 264 h 2450"/>
              <a:gd name="T88" fmla="*/ 647 w 1820"/>
              <a:gd name="T89" fmla="*/ 324 h 2450"/>
              <a:gd name="T90" fmla="*/ 403 w 1820"/>
              <a:gd name="T91" fmla="*/ 592 h 2450"/>
              <a:gd name="T92" fmla="*/ 378 w 1820"/>
              <a:gd name="T93" fmla="*/ 943 h 2450"/>
              <a:gd name="T94" fmla="*/ 581 w 1820"/>
              <a:gd name="T95" fmla="*/ 1246 h 2450"/>
              <a:gd name="T96" fmla="*/ 909 w 1820"/>
              <a:gd name="T97" fmla="*/ 1355 h 2450"/>
              <a:gd name="T98" fmla="*/ 1258 w 1820"/>
              <a:gd name="T99" fmla="*/ 1230 h 2450"/>
              <a:gd name="T100" fmla="*/ 1447 w 1820"/>
              <a:gd name="T101" fmla="*/ 916 h 2450"/>
              <a:gd name="T102" fmla="*/ 717 w 1820"/>
              <a:gd name="T103" fmla="*/ 1263 h 2450"/>
              <a:gd name="T104" fmla="*/ 473 w 1820"/>
              <a:gd name="T105" fmla="*/ 1043 h 2450"/>
              <a:gd name="T106" fmla="*/ 418 w 1820"/>
              <a:gd name="T107" fmla="*/ 731 h 2450"/>
              <a:gd name="T108" fmla="*/ 576 w 1820"/>
              <a:gd name="T109" fmla="*/ 439 h 2450"/>
              <a:gd name="T110" fmla="*/ 884 w 1820"/>
              <a:gd name="T111" fmla="*/ 310 h 2450"/>
              <a:gd name="T112" fmla="*/ 1187 w 1820"/>
              <a:gd name="T113" fmla="*/ 394 h 2450"/>
              <a:gd name="T114" fmla="*/ 1383 w 1820"/>
              <a:gd name="T115" fmla="*/ 659 h 2450"/>
              <a:gd name="T116" fmla="*/ 1376 w 1820"/>
              <a:gd name="T117" fmla="*/ 977 h 2450"/>
              <a:gd name="T118" fmla="*/ 1166 w 1820"/>
              <a:gd name="T119" fmla="*/ 1231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0" h="2450">
                <a:moveTo>
                  <a:pt x="1387" y="1406"/>
                </a:moveTo>
                <a:lnTo>
                  <a:pt x="1387" y="1406"/>
                </a:lnTo>
                <a:lnTo>
                  <a:pt x="1420" y="1393"/>
                </a:lnTo>
                <a:lnTo>
                  <a:pt x="1459" y="1380"/>
                </a:lnTo>
                <a:lnTo>
                  <a:pt x="1459" y="1380"/>
                </a:lnTo>
                <a:lnTo>
                  <a:pt x="1493" y="1368"/>
                </a:lnTo>
                <a:lnTo>
                  <a:pt x="1510" y="1362"/>
                </a:lnTo>
                <a:lnTo>
                  <a:pt x="1527" y="1353"/>
                </a:lnTo>
                <a:lnTo>
                  <a:pt x="1543" y="1343"/>
                </a:lnTo>
                <a:lnTo>
                  <a:pt x="1560" y="1331"/>
                </a:lnTo>
                <a:lnTo>
                  <a:pt x="1575" y="1316"/>
                </a:lnTo>
                <a:lnTo>
                  <a:pt x="1582" y="1309"/>
                </a:lnTo>
                <a:lnTo>
                  <a:pt x="1589" y="1300"/>
                </a:lnTo>
                <a:lnTo>
                  <a:pt x="1589" y="1300"/>
                </a:lnTo>
                <a:lnTo>
                  <a:pt x="1595" y="1291"/>
                </a:lnTo>
                <a:lnTo>
                  <a:pt x="1601" y="1282"/>
                </a:lnTo>
                <a:lnTo>
                  <a:pt x="1609" y="1262"/>
                </a:lnTo>
                <a:lnTo>
                  <a:pt x="1616" y="1244"/>
                </a:lnTo>
                <a:lnTo>
                  <a:pt x="1620" y="1224"/>
                </a:lnTo>
                <a:lnTo>
                  <a:pt x="1622" y="1206"/>
                </a:lnTo>
                <a:lnTo>
                  <a:pt x="1624" y="1188"/>
                </a:lnTo>
                <a:lnTo>
                  <a:pt x="1625" y="1153"/>
                </a:lnTo>
                <a:lnTo>
                  <a:pt x="1625" y="1153"/>
                </a:lnTo>
                <a:lnTo>
                  <a:pt x="1625" y="1120"/>
                </a:lnTo>
                <a:lnTo>
                  <a:pt x="1627" y="1089"/>
                </a:lnTo>
                <a:lnTo>
                  <a:pt x="1627" y="1075"/>
                </a:lnTo>
                <a:lnTo>
                  <a:pt x="1629" y="1062"/>
                </a:lnTo>
                <a:lnTo>
                  <a:pt x="1631" y="1052"/>
                </a:lnTo>
                <a:lnTo>
                  <a:pt x="1633" y="1042"/>
                </a:lnTo>
                <a:lnTo>
                  <a:pt x="1633" y="1042"/>
                </a:lnTo>
                <a:lnTo>
                  <a:pt x="1636" y="1032"/>
                </a:lnTo>
                <a:lnTo>
                  <a:pt x="1642" y="1022"/>
                </a:lnTo>
                <a:lnTo>
                  <a:pt x="1655" y="1001"/>
                </a:lnTo>
                <a:lnTo>
                  <a:pt x="1672" y="976"/>
                </a:lnTo>
                <a:lnTo>
                  <a:pt x="1691" y="949"/>
                </a:lnTo>
                <a:lnTo>
                  <a:pt x="1691" y="949"/>
                </a:lnTo>
                <a:lnTo>
                  <a:pt x="1712" y="920"/>
                </a:lnTo>
                <a:lnTo>
                  <a:pt x="1722" y="903"/>
                </a:lnTo>
                <a:lnTo>
                  <a:pt x="1730" y="886"/>
                </a:lnTo>
                <a:lnTo>
                  <a:pt x="1738" y="869"/>
                </a:lnTo>
                <a:lnTo>
                  <a:pt x="1743" y="849"/>
                </a:lnTo>
                <a:lnTo>
                  <a:pt x="1748" y="829"/>
                </a:lnTo>
                <a:lnTo>
                  <a:pt x="1749" y="818"/>
                </a:lnTo>
                <a:lnTo>
                  <a:pt x="1750" y="806"/>
                </a:lnTo>
                <a:lnTo>
                  <a:pt x="1750" y="806"/>
                </a:lnTo>
                <a:lnTo>
                  <a:pt x="1750" y="806"/>
                </a:lnTo>
                <a:lnTo>
                  <a:pt x="1749" y="795"/>
                </a:lnTo>
                <a:lnTo>
                  <a:pt x="1748" y="785"/>
                </a:lnTo>
                <a:lnTo>
                  <a:pt x="1743" y="764"/>
                </a:lnTo>
                <a:lnTo>
                  <a:pt x="1738" y="745"/>
                </a:lnTo>
                <a:lnTo>
                  <a:pt x="1730" y="726"/>
                </a:lnTo>
                <a:lnTo>
                  <a:pt x="1722" y="709"/>
                </a:lnTo>
                <a:lnTo>
                  <a:pt x="1712" y="693"/>
                </a:lnTo>
                <a:lnTo>
                  <a:pt x="1691" y="664"/>
                </a:lnTo>
                <a:lnTo>
                  <a:pt x="1691" y="664"/>
                </a:lnTo>
                <a:lnTo>
                  <a:pt x="1672" y="637"/>
                </a:lnTo>
                <a:lnTo>
                  <a:pt x="1655" y="612"/>
                </a:lnTo>
                <a:lnTo>
                  <a:pt x="1642" y="590"/>
                </a:lnTo>
                <a:lnTo>
                  <a:pt x="1636" y="580"/>
                </a:lnTo>
                <a:lnTo>
                  <a:pt x="1633" y="571"/>
                </a:lnTo>
                <a:lnTo>
                  <a:pt x="1633" y="571"/>
                </a:lnTo>
                <a:lnTo>
                  <a:pt x="1631" y="561"/>
                </a:lnTo>
                <a:lnTo>
                  <a:pt x="1629" y="550"/>
                </a:lnTo>
                <a:lnTo>
                  <a:pt x="1627" y="524"/>
                </a:lnTo>
                <a:lnTo>
                  <a:pt x="1625" y="493"/>
                </a:lnTo>
                <a:lnTo>
                  <a:pt x="1625" y="460"/>
                </a:lnTo>
                <a:lnTo>
                  <a:pt x="1625" y="460"/>
                </a:lnTo>
                <a:lnTo>
                  <a:pt x="1624" y="425"/>
                </a:lnTo>
                <a:lnTo>
                  <a:pt x="1622" y="406"/>
                </a:lnTo>
                <a:lnTo>
                  <a:pt x="1620" y="388"/>
                </a:lnTo>
                <a:lnTo>
                  <a:pt x="1616" y="369"/>
                </a:lnTo>
                <a:lnTo>
                  <a:pt x="1609" y="350"/>
                </a:lnTo>
                <a:lnTo>
                  <a:pt x="1601" y="331"/>
                </a:lnTo>
                <a:lnTo>
                  <a:pt x="1595" y="322"/>
                </a:lnTo>
                <a:lnTo>
                  <a:pt x="1589" y="312"/>
                </a:lnTo>
                <a:lnTo>
                  <a:pt x="1589" y="312"/>
                </a:lnTo>
                <a:lnTo>
                  <a:pt x="1582" y="304"/>
                </a:lnTo>
                <a:lnTo>
                  <a:pt x="1575" y="296"/>
                </a:lnTo>
                <a:lnTo>
                  <a:pt x="1560" y="282"/>
                </a:lnTo>
                <a:lnTo>
                  <a:pt x="1543" y="270"/>
                </a:lnTo>
                <a:lnTo>
                  <a:pt x="1527" y="259"/>
                </a:lnTo>
                <a:lnTo>
                  <a:pt x="1510" y="252"/>
                </a:lnTo>
                <a:lnTo>
                  <a:pt x="1493" y="244"/>
                </a:lnTo>
                <a:lnTo>
                  <a:pt x="1459" y="232"/>
                </a:lnTo>
                <a:lnTo>
                  <a:pt x="1459" y="232"/>
                </a:lnTo>
                <a:lnTo>
                  <a:pt x="1428" y="222"/>
                </a:lnTo>
                <a:lnTo>
                  <a:pt x="1399" y="212"/>
                </a:lnTo>
                <a:lnTo>
                  <a:pt x="1375" y="202"/>
                </a:lnTo>
                <a:lnTo>
                  <a:pt x="1365" y="197"/>
                </a:lnTo>
                <a:lnTo>
                  <a:pt x="1356" y="190"/>
                </a:lnTo>
                <a:lnTo>
                  <a:pt x="1356" y="190"/>
                </a:lnTo>
                <a:lnTo>
                  <a:pt x="1349" y="185"/>
                </a:lnTo>
                <a:lnTo>
                  <a:pt x="1341" y="177"/>
                </a:lnTo>
                <a:lnTo>
                  <a:pt x="1324" y="157"/>
                </a:lnTo>
                <a:lnTo>
                  <a:pt x="1306" y="133"/>
                </a:lnTo>
                <a:lnTo>
                  <a:pt x="1286" y="106"/>
                </a:lnTo>
                <a:lnTo>
                  <a:pt x="1286" y="106"/>
                </a:lnTo>
                <a:lnTo>
                  <a:pt x="1264" y="78"/>
                </a:lnTo>
                <a:lnTo>
                  <a:pt x="1253" y="64"/>
                </a:lnTo>
                <a:lnTo>
                  <a:pt x="1239" y="51"/>
                </a:lnTo>
                <a:lnTo>
                  <a:pt x="1225" y="38"/>
                </a:lnTo>
                <a:lnTo>
                  <a:pt x="1207" y="26"/>
                </a:lnTo>
                <a:lnTo>
                  <a:pt x="1189" y="15"/>
                </a:lnTo>
                <a:lnTo>
                  <a:pt x="1179" y="11"/>
                </a:lnTo>
                <a:lnTo>
                  <a:pt x="1169" y="8"/>
                </a:lnTo>
                <a:lnTo>
                  <a:pt x="1169" y="8"/>
                </a:lnTo>
                <a:lnTo>
                  <a:pt x="1156" y="3"/>
                </a:lnTo>
                <a:lnTo>
                  <a:pt x="1143" y="1"/>
                </a:lnTo>
                <a:lnTo>
                  <a:pt x="1130" y="0"/>
                </a:lnTo>
                <a:lnTo>
                  <a:pt x="1118" y="0"/>
                </a:lnTo>
                <a:lnTo>
                  <a:pt x="1118" y="0"/>
                </a:lnTo>
                <a:lnTo>
                  <a:pt x="1101" y="1"/>
                </a:lnTo>
                <a:lnTo>
                  <a:pt x="1085" y="2"/>
                </a:lnTo>
                <a:lnTo>
                  <a:pt x="1070" y="5"/>
                </a:lnTo>
                <a:lnTo>
                  <a:pt x="1055" y="9"/>
                </a:lnTo>
                <a:lnTo>
                  <a:pt x="1026" y="16"/>
                </a:lnTo>
                <a:lnTo>
                  <a:pt x="998" y="25"/>
                </a:lnTo>
                <a:lnTo>
                  <a:pt x="973" y="32"/>
                </a:lnTo>
                <a:lnTo>
                  <a:pt x="949" y="40"/>
                </a:lnTo>
                <a:lnTo>
                  <a:pt x="928" y="44"/>
                </a:lnTo>
                <a:lnTo>
                  <a:pt x="919" y="45"/>
                </a:lnTo>
                <a:lnTo>
                  <a:pt x="909" y="45"/>
                </a:lnTo>
                <a:lnTo>
                  <a:pt x="909" y="45"/>
                </a:lnTo>
                <a:lnTo>
                  <a:pt x="900" y="45"/>
                </a:lnTo>
                <a:lnTo>
                  <a:pt x="891" y="44"/>
                </a:lnTo>
                <a:lnTo>
                  <a:pt x="869" y="40"/>
                </a:lnTo>
                <a:lnTo>
                  <a:pt x="846" y="32"/>
                </a:lnTo>
                <a:lnTo>
                  <a:pt x="820" y="25"/>
                </a:lnTo>
                <a:lnTo>
                  <a:pt x="793" y="16"/>
                </a:lnTo>
                <a:lnTo>
                  <a:pt x="764" y="9"/>
                </a:lnTo>
                <a:lnTo>
                  <a:pt x="749" y="5"/>
                </a:lnTo>
                <a:lnTo>
                  <a:pt x="733" y="2"/>
                </a:lnTo>
                <a:lnTo>
                  <a:pt x="718" y="1"/>
                </a:lnTo>
                <a:lnTo>
                  <a:pt x="701" y="0"/>
                </a:lnTo>
                <a:lnTo>
                  <a:pt x="701" y="0"/>
                </a:lnTo>
                <a:lnTo>
                  <a:pt x="688" y="0"/>
                </a:lnTo>
                <a:lnTo>
                  <a:pt x="675" y="1"/>
                </a:lnTo>
                <a:lnTo>
                  <a:pt x="663" y="3"/>
                </a:lnTo>
                <a:lnTo>
                  <a:pt x="650" y="8"/>
                </a:lnTo>
                <a:lnTo>
                  <a:pt x="650" y="8"/>
                </a:lnTo>
                <a:lnTo>
                  <a:pt x="639" y="11"/>
                </a:lnTo>
                <a:lnTo>
                  <a:pt x="629" y="15"/>
                </a:lnTo>
                <a:lnTo>
                  <a:pt x="611" y="26"/>
                </a:lnTo>
                <a:lnTo>
                  <a:pt x="594" y="38"/>
                </a:lnTo>
                <a:lnTo>
                  <a:pt x="579" y="51"/>
                </a:lnTo>
                <a:lnTo>
                  <a:pt x="566" y="64"/>
                </a:lnTo>
                <a:lnTo>
                  <a:pt x="554" y="78"/>
                </a:lnTo>
                <a:lnTo>
                  <a:pt x="533" y="106"/>
                </a:lnTo>
                <a:lnTo>
                  <a:pt x="533" y="106"/>
                </a:lnTo>
                <a:lnTo>
                  <a:pt x="513" y="133"/>
                </a:lnTo>
                <a:lnTo>
                  <a:pt x="495" y="157"/>
                </a:lnTo>
                <a:lnTo>
                  <a:pt x="478" y="177"/>
                </a:lnTo>
                <a:lnTo>
                  <a:pt x="470" y="185"/>
                </a:lnTo>
                <a:lnTo>
                  <a:pt x="461" y="190"/>
                </a:lnTo>
                <a:lnTo>
                  <a:pt x="461" y="190"/>
                </a:lnTo>
                <a:lnTo>
                  <a:pt x="454" y="197"/>
                </a:lnTo>
                <a:lnTo>
                  <a:pt x="444" y="201"/>
                </a:lnTo>
                <a:lnTo>
                  <a:pt x="419" y="212"/>
                </a:lnTo>
                <a:lnTo>
                  <a:pt x="391" y="222"/>
                </a:lnTo>
                <a:lnTo>
                  <a:pt x="359" y="232"/>
                </a:lnTo>
                <a:lnTo>
                  <a:pt x="359" y="232"/>
                </a:lnTo>
                <a:lnTo>
                  <a:pt x="326" y="244"/>
                </a:lnTo>
                <a:lnTo>
                  <a:pt x="309" y="252"/>
                </a:lnTo>
                <a:lnTo>
                  <a:pt x="292" y="259"/>
                </a:lnTo>
                <a:lnTo>
                  <a:pt x="276" y="270"/>
                </a:lnTo>
                <a:lnTo>
                  <a:pt x="259" y="282"/>
                </a:lnTo>
                <a:lnTo>
                  <a:pt x="244" y="296"/>
                </a:lnTo>
                <a:lnTo>
                  <a:pt x="237" y="304"/>
                </a:lnTo>
                <a:lnTo>
                  <a:pt x="230" y="312"/>
                </a:lnTo>
                <a:lnTo>
                  <a:pt x="230" y="312"/>
                </a:lnTo>
                <a:lnTo>
                  <a:pt x="224" y="322"/>
                </a:lnTo>
                <a:lnTo>
                  <a:pt x="218" y="331"/>
                </a:lnTo>
                <a:lnTo>
                  <a:pt x="210" y="350"/>
                </a:lnTo>
                <a:lnTo>
                  <a:pt x="203" y="369"/>
                </a:lnTo>
                <a:lnTo>
                  <a:pt x="199" y="388"/>
                </a:lnTo>
                <a:lnTo>
                  <a:pt x="196" y="406"/>
                </a:lnTo>
                <a:lnTo>
                  <a:pt x="195" y="425"/>
                </a:lnTo>
                <a:lnTo>
                  <a:pt x="193" y="460"/>
                </a:lnTo>
                <a:lnTo>
                  <a:pt x="193" y="460"/>
                </a:lnTo>
                <a:lnTo>
                  <a:pt x="193" y="493"/>
                </a:lnTo>
                <a:lnTo>
                  <a:pt x="192" y="524"/>
                </a:lnTo>
                <a:lnTo>
                  <a:pt x="190" y="550"/>
                </a:lnTo>
                <a:lnTo>
                  <a:pt x="188" y="561"/>
                </a:lnTo>
                <a:lnTo>
                  <a:pt x="186" y="571"/>
                </a:lnTo>
                <a:lnTo>
                  <a:pt x="186" y="571"/>
                </a:lnTo>
                <a:lnTo>
                  <a:pt x="183" y="580"/>
                </a:lnTo>
                <a:lnTo>
                  <a:pt x="177" y="590"/>
                </a:lnTo>
                <a:lnTo>
                  <a:pt x="164" y="612"/>
                </a:lnTo>
                <a:lnTo>
                  <a:pt x="147" y="637"/>
                </a:lnTo>
                <a:lnTo>
                  <a:pt x="128" y="664"/>
                </a:lnTo>
                <a:lnTo>
                  <a:pt x="128" y="664"/>
                </a:lnTo>
                <a:lnTo>
                  <a:pt x="107" y="693"/>
                </a:lnTo>
                <a:lnTo>
                  <a:pt x="97" y="709"/>
                </a:lnTo>
                <a:lnTo>
                  <a:pt x="89" y="726"/>
                </a:lnTo>
                <a:lnTo>
                  <a:pt x="81" y="745"/>
                </a:lnTo>
                <a:lnTo>
                  <a:pt x="75" y="764"/>
                </a:lnTo>
                <a:lnTo>
                  <a:pt x="71" y="785"/>
                </a:lnTo>
                <a:lnTo>
                  <a:pt x="69" y="795"/>
                </a:lnTo>
                <a:lnTo>
                  <a:pt x="69" y="806"/>
                </a:lnTo>
                <a:lnTo>
                  <a:pt x="69" y="806"/>
                </a:lnTo>
                <a:lnTo>
                  <a:pt x="69" y="818"/>
                </a:lnTo>
                <a:lnTo>
                  <a:pt x="71" y="829"/>
                </a:lnTo>
                <a:lnTo>
                  <a:pt x="75" y="849"/>
                </a:lnTo>
                <a:lnTo>
                  <a:pt x="81" y="869"/>
                </a:lnTo>
                <a:lnTo>
                  <a:pt x="89" y="886"/>
                </a:lnTo>
                <a:lnTo>
                  <a:pt x="97" y="903"/>
                </a:lnTo>
                <a:lnTo>
                  <a:pt x="107" y="920"/>
                </a:lnTo>
                <a:lnTo>
                  <a:pt x="128" y="949"/>
                </a:lnTo>
                <a:lnTo>
                  <a:pt x="128" y="949"/>
                </a:lnTo>
                <a:lnTo>
                  <a:pt x="147" y="976"/>
                </a:lnTo>
                <a:lnTo>
                  <a:pt x="164" y="1001"/>
                </a:lnTo>
                <a:lnTo>
                  <a:pt x="177" y="1022"/>
                </a:lnTo>
                <a:lnTo>
                  <a:pt x="183" y="1032"/>
                </a:lnTo>
                <a:lnTo>
                  <a:pt x="186" y="1042"/>
                </a:lnTo>
                <a:lnTo>
                  <a:pt x="186" y="1042"/>
                </a:lnTo>
                <a:lnTo>
                  <a:pt x="188" y="1052"/>
                </a:lnTo>
                <a:lnTo>
                  <a:pt x="190" y="1062"/>
                </a:lnTo>
                <a:lnTo>
                  <a:pt x="192" y="1089"/>
                </a:lnTo>
                <a:lnTo>
                  <a:pt x="193" y="1120"/>
                </a:lnTo>
                <a:lnTo>
                  <a:pt x="193" y="1153"/>
                </a:lnTo>
                <a:lnTo>
                  <a:pt x="193" y="1153"/>
                </a:lnTo>
                <a:lnTo>
                  <a:pt x="195" y="1188"/>
                </a:lnTo>
                <a:lnTo>
                  <a:pt x="196" y="1206"/>
                </a:lnTo>
                <a:lnTo>
                  <a:pt x="199" y="1224"/>
                </a:lnTo>
                <a:lnTo>
                  <a:pt x="203" y="1244"/>
                </a:lnTo>
                <a:lnTo>
                  <a:pt x="210" y="1262"/>
                </a:lnTo>
                <a:lnTo>
                  <a:pt x="218" y="1282"/>
                </a:lnTo>
                <a:lnTo>
                  <a:pt x="224" y="1291"/>
                </a:lnTo>
                <a:lnTo>
                  <a:pt x="230" y="1300"/>
                </a:lnTo>
                <a:lnTo>
                  <a:pt x="230" y="1300"/>
                </a:lnTo>
                <a:lnTo>
                  <a:pt x="237" y="1309"/>
                </a:lnTo>
                <a:lnTo>
                  <a:pt x="244" y="1316"/>
                </a:lnTo>
                <a:lnTo>
                  <a:pt x="259" y="1331"/>
                </a:lnTo>
                <a:lnTo>
                  <a:pt x="276" y="1343"/>
                </a:lnTo>
                <a:lnTo>
                  <a:pt x="292" y="1353"/>
                </a:lnTo>
                <a:lnTo>
                  <a:pt x="309" y="1362"/>
                </a:lnTo>
                <a:lnTo>
                  <a:pt x="326" y="1368"/>
                </a:lnTo>
                <a:lnTo>
                  <a:pt x="359" y="1380"/>
                </a:lnTo>
                <a:lnTo>
                  <a:pt x="359" y="1380"/>
                </a:lnTo>
                <a:lnTo>
                  <a:pt x="393" y="1392"/>
                </a:lnTo>
                <a:lnTo>
                  <a:pt x="424" y="1403"/>
                </a:lnTo>
                <a:lnTo>
                  <a:pt x="0" y="2160"/>
                </a:lnTo>
                <a:lnTo>
                  <a:pt x="382" y="2046"/>
                </a:lnTo>
                <a:lnTo>
                  <a:pt x="486" y="2432"/>
                </a:lnTo>
                <a:lnTo>
                  <a:pt x="1018" y="1484"/>
                </a:lnTo>
                <a:lnTo>
                  <a:pt x="1018" y="1484"/>
                </a:lnTo>
                <a:lnTo>
                  <a:pt x="993" y="1476"/>
                </a:lnTo>
                <a:lnTo>
                  <a:pt x="966" y="1470"/>
                </a:lnTo>
                <a:lnTo>
                  <a:pt x="938" y="1465"/>
                </a:lnTo>
                <a:lnTo>
                  <a:pt x="924" y="1463"/>
                </a:lnTo>
                <a:lnTo>
                  <a:pt x="909" y="1462"/>
                </a:lnTo>
                <a:lnTo>
                  <a:pt x="909" y="1462"/>
                </a:lnTo>
                <a:lnTo>
                  <a:pt x="893" y="1463"/>
                </a:lnTo>
                <a:lnTo>
                  <a:pt x="876" y="1465"/>
                </a:lnTo>
                <a:lnTo>
                  <a:pt x="860" y="1469"/>
                </a:lnTo>
                <a:lnTo>
                  <a:pt x="845" y="1472"/>
                </a:lnTo>
                <a:lnTo>
                  <a:pt x="815" y="1480"/>
                </a:lnTo>
                <a:lnTo>
                  <a:pt x="788" y="1488"/>
                </a:lnTo>
                <a:lnTo>
                  <a:pt x="762" y="1496"/>
                </a:lnTo>
                <a:lnTo>
                  <a:pt x="739" y="1503"/>
                </a:lnTo>
                <a:lnTo>
                  <a:pt x="719" y="1508"/>
                </a:lnTo>
                <a:lnTo>
                  <a:pt x="709" y="1509"/>
                </a:lnTo>
                <a:lnTo>
                  <a:pt x="700" y="1509"/>
                </a:lnTo>
                <a:lnTo>
                  <a:pt x="700" y="1509"/>
                </a:lnTo>
                <a:lnTo>
                  <a:pt x="691" y="1508"/>
                </a:lnTo>
                <a:lnTo>
                  <a:pt x="682" y="1505"/>
                </a:lnTo>
                <a:lnTo>
                  <a:pt x="682" y="1505"/>
                </a:lnTo>
                <a:lnTo>
                  <a:pt x="674" y="1503"/>
                </a:lnTo>
                <a:lnTo>
                  <a:pt x="668" y="1499"/>
                </a:lnTo>
                <a:lnTo>
                  <a:pt x="659" y="1494"/>
                </a:lnTo>
                <a:lnTo>
                  <a:pt x="652" y="1486"/>
                </a:lnTo>
                <a:lnTo>
                  <a:pt x="643" y="1477"/>
                </a:lnTo>
                <a:lnTo>
                  <a:pt x="634" y="1468"/>
                </a:lnTo>
                <a:lnTo>
                  <a:pt x="617" y="1445"/>
                </a:lnTo>
                <a:lnTo>
                  <a:pt x="617" y="1445"/>
                </a:lnTo>
                <a:lnTo>
                  <a:pt x="598" y="1418"/>
                </a:lnTo>
                <a:lnTo>
                  <a:pt x="577" y="1391"/>
                </a:lnTo>
                <a:lnTo>
                  <a:pt x="565" y="1377"/>
                </a:lnTo>
                <a:lnTo>
                  <a:pt x="552" y="1363"/>
                </a:lnTo>
                <a:lnTo>
                  <a:pt x="539" y="1350"/>
                </a:lnTo>
                <a:lnTo>
                  <a:pt x="523" y="1337"/>
                </a:lnTo>
                <a:lnTo>
                  <a:pt x="523" y="1337"/>
                </a:lnTo>
                <a:lnTo>
                  <a:pt x="507" y="1327"/>
                </a:lnTo>
                <a:lnTo>
                  <a:pt x="491" y="1317"/>
                </a:lnTo>
                <a:lnTo>
                  <a:pt x="473" y="1310"/>
                </a:lnTo>
                <a:lnTo>
                  <a:pt x="456" y="1303"/>
                </a:lnTo>
                <a:lnTo>
                  <a:pt x="424" y="1291"/>
                </a:lnTo>
                <a:lnTo>
                  <a:pt x="392" y="1282"/>
                </a:lnTo>
                <a:lnTo>
                  <a:pt x="392" y="1282"/>
                </a:lnTo>
                <a:lnTo>
                  <a:pt x="364" y="1271"/>
                </a:lnTo>
                <a:lnTo>
                  <a:pt x="352" y="1267"/>
                </a:lnTo>
                <a:lnTo>
                  <a:pt x="343" y="1261"/>
                </a:lnTo>
                <a:lnTo>
                  <a:pt x="333" y="1256"/>
                </a:lnTo>
                <a:lnTo>
                  <a:pt x="325" y="1250"/>
                </a:lnTo>
                <a:lnTo>
                  <a:pt x="319" y="1244"/>
                </a:lnTo>
                <a:lnTo>
                  <a:pt x="315" y="1239"/>
                </a:lnTo>
                <a:lnTo>
                  <a:pt x="315" y="1239"/>
                </a:lnTo>
                <a:lnTo>
                  <a:pt x="310" y="1233"/>
                </a:lnTo>
                <a:lnTo>
                  <a:pt x="307" y="1226"/>
                </a:lnTo>
                <a:lnTo>
                  <a:pt x="304" y="1216"/>
                </a:lnTo>
                <a:lnTo>
                  <a:pt x="302" y="1206"/>
                </a:lnTo>
                <a:lnTo>
                  <a:pt x="300" y="1194"/>
                </a:lnTo>
                <a:lnTo>
                  <a:pt x="299" y="1181"/>
                </a:lnTo>
                <a:lnTo>
                  <a:pt x="298" y="1152"/>
                </a:lnTo>
                <a:lnTo>
                  <a:pt x="298" y="1152"/>
                </a:lnTo>
                <a:lnTo>
                  <a:pt x="298" y="1119"/>
                </a:lnTo>
                <a:lnTo>
                  <a:pt x="297" y="1084"/>
                </a:lnTo>
                <a:lnTo>
                  <a:pt x="296" y="1066"/>
                </a:lnTo>
                <a:lnTo>
                  <a:pt x="294" y="1047"/>
                </a:lnTo>
                <a:lnTo>
                  <a:pt x="290" y="1029"/>
                </a:lnTo>
                <a:lnTo>
                  <a:pt x="285" y="1009"/>
                </a:lnTo>
                <a:lnTo>
                  <a:pt x="285" y="1009"/>
                </a:lnTo>
                <a:lnTo>
                  <a:pt x="278" y="991"/>
                </a:lnTo>
                <a:lnTo>
                  <a:pt x="270" y="974"/>
                </a:lnTo>
                <a:lnTo>
                  <a:pt x="260" y="958"/>
                </a:lnTo>
                <a:lnTo>
                  <a:pt x="251" y="942"/>
                </a:lnTo>
                <a:lnTo>
                  <a:pt x="231" y="914"/>
                </a:lnTo>
                <a:lnTo>
                  <a:pt x="212" y="888"/>
                </a:lnTo>
                <a:lnTo>
                  <a:pt x="212" y="888"/>
                </a:lnTo>
                <a:lnTo>
                  <a:pt x="196" y="865"/>
                </a:lnTo>
                <a:lnTo>
                  <a:pt x="189" y="853"/>
                </a:lnTo>
                <a:lnTo>
                  <a:pt x="184" y="842"/>
                </a:lnTo>
                <a:lnTo>
                  <a:pt x="179" y="832"/>
                </a:lnTo>
                <a:lnTo>
                  <a:pt x="176" y="822"/>
                </a:lnTo>
                <a:lnTo>
                  <a:pt x="174" y="814"/>
                </a:lnTo>
                <a:lnTo>
                  <a:pt x="174" y="806"/>
                </a:lnTo>
                <a:lnTo>
                  <a:pt x="174" y="806"/>
                </a:lnTo>
                <a:lnTo>
                  <a:pt x="174" y="799"/>
                </a:lnTo>
                <a:lnTo>
                  <a:pt x="176" y="790"/>
                </a:lnTo>
                <a:lnTo>
                  <a:pt x="179" y="780"/>
                </a:lnTo>
                <a:lnTo>
                  <a:pt x="184" y="771"/>
                </a:lnTo>
                <a:lnTo>
                  <a:pt x="189" y="760"/>
                </a:lnTo>
                <a:lnTo>
                  <a:pt x="196" y="749"/>
                </a:lnTo>
                <a:lnTo>
                  <a:pt x="212" y="724"/>
                </a:lnTo>
                <a:lnTo>
                  <a:pt x="212" y="724"/>
                </a:lnTo>
                <a:lnTo>
                  <a:pt x="231" y="698"/>
                </a:lnTo>
                <a:lnTo>
                  <a:pt x="251" y="670"/>
                </a:lnTo>
                <a:lnTo>
                  <a:pt x="260" y="655"/>
                </a:lnTo>
                <a:lnTo>
                  <a:pt x="270" y="639"/>
                </a:lnTo>
                <a:lnTo>
                  <a:pt x="278" y="621"/>
                </a:lnTo>
                <a:lnTo>
                  <a:pt x="285" y="603"/>
                </a:lnTo>
                <a:lnTo>
                  <a:pt x="285" y="603"/>
                </a:lnTo>
                <a:lnTo>
                  <a:pt x="290" y="585"/>
                </a:lnTo>
                <a:lnTo>
                  <a:pt x="294" y="565"/>
                </a:lnTo>
                <a:lnTo>
                  <a:pt x="296" y="547"/>
                </a:lnTo>
                <a:lnTo>
                  <a:pt x="297" y="528"/>
                </a:lnTo>
                <a:lnTo>
                  <a:pt x="298" y="494"/>
                </a:lnTo>
                <a:lnTo>
                  <a:pt x="298" y="461"/>
                </a:lnTo>
                <a:lnTo>
                  <a:pt x="298" y="461"/>
                </a:lnTo>
                <a:lnTo>
                  <a:pt x="299" y="431"/>
                </a:lnTo>
                <a:lnTo>
                  <a:pt x="300" y="418"/>
                </a:lnTo>
                <a:lnTo>
                  <a:pt x="302" y="406"/>
                </a:lnTo>
                <a:lnTo>
                  <a:pt x="304" y="397"/>
                </a:lnTo>
                <a:lnTo>
                  <a:pt x="307" y="388"/>
                </a:lnTo>
                <a:lnTo>
                  <a:pt x="310" y="380"/>
                </a:lnTo>
                <a:lnTo>
                  <a:pt x="315" y="374"/>
                </a:lnTo>
                <a:lnTo>
                  <a:pt x="315" y="374"/>
                </a:lnTo>
                <a:lnTo>
                  <a:pt x="319" y="369"/>
                </a:lnTo>
                <a:lnTo>
                  <a:pt x="325" y="363"/>
                </a:lnTo>
                <a:lnTo>
                  <a:pt x="333" y="358"/>
                </a:lnTo>
                <a:lnTo>
                  <a:pt x="343" y="352"/>
                </a:lnTo>
                <a:lnTo>
                  <a:pt x="352" y="347"/>
                </a:lnTo>
                <a:lnTo>
                  <a:pt x="364" y="342"/>
                </a:lnTo>
                <a:lnTo>
                  <a:pt x="392" y="331"/>
                </a:lnTo>
                <a:lnTo>
                  <a:pt x="392" y="331"/>
                </a:lnTo>
                <a:lnTo>
                  <a:pt x="424" y="321"/>
                </a:lnTo>
                <a:lnTo>
                  <a:pt x="456" y="310"/>
                </a:lnTo>
                <a:lnTo>
                  <a:pt x="473" y="303"/>
                </a:lnTo>
                <a:lnTo>
                  <a:pt x="491" y="295"/>
                </a:lnTo>
                <a:lnTo>
                  <a:pt x="507" y="286"/>
                </a:lnTo>
                <a:lnTo>
                  <a:pt x="523" y="276"/>
                </a:lnTo>
                <a:lnTo>
                  <a:pt x="523" y="276"/>
                </a:lnTo>
                <a:lnTo>
                  <a:pt x="539" y="263"/>
                </a:lnTo>
                <a:lnTo>
                  <a:pt x="552" y="250"/>
                </a:lnTo>
                <a:lnTo>
                  <a:pt x="565" y="236"/>
                </a:lnTo>
                <a:lnTo>
                  <a:pt x="577" y="223"/>
                </a:lnTo>
                <a:lnTo>
                  <a:pt x="598" y="195"/>
                </a:lnTo>
                <a:lnTo>
                  <a:pt x="617" y="169"/>
                </a:lnTo>
                <a:lnTo>
                  <a:pt x="617" y="169"/>
                </a:lnTo>
                <a:lnTo>
                  <a:pt x="634" y="145"/>
                </a:lnTo>
                <a:lnTo>
                  <a:pt x="643" y="135"/>
                </a:lnTo>
                <a:lnTo>
                  <a:pt x="652" y="126"/>
                </a:lnTo>
                <a:lnTo>
                  <a:pt x="660" y="119"/>
                </a:lnTo>
                <a:lnTo>
                  <a:pt x="668" y="113"/>
                </a:lnTo>
                <a:lnTo>
                  <a:pt x="675" y="109"/>
                </a:lnTo>
                <a:lnTo>
                  <a:pt x="682" y="107"/>
                </a:lnTo>
                <a:lnTo>
                  <a:pt x="682" y="107"/>
                </a:lnTo>
                <a:lnTo>
                  <a:pt x="691" y="105"/>
                </a:lnTo>
                <a:lnTo>
                  <a:pt x="701" y="104"/>
                </a:lnTo>
                <a:lnTo>
                  <a:pt x="701" y="104"/>
                </a:lnTo>
                <a:lnTo>
                  <a:pt x="706" y="104"/>
                </a:lnTo>
                <a:lnTo>
                  <a:pt x="706" y="104"/>
                </a:lnTo>
                <a:lnTo>
                  <a:pt x="713" y="105"/>
                </a:lnTo>
                <a:lnTo>
                  <a:pt x="723" y="106"/>
                </a:lnTo>
                <a:lnTo>
                  <a:pt x="744" y="110"/>
                </a:lnTo>
                <a:lnTo>
                  <a:pt x="766" y="118"/>
                </a:lnTo>
                <a:lnTo>
                  <a:pt x="791" y="126"/>
                </a:lnTo>
                <a:lnTo>
                  <a:pt x="818" y="134"/>
                </a:lnTo>
                <a:lnTo>
                  <a:pt x="847" y="142"/>
                </a:lnTo>
                <a:lnTo>
                  <a:pt x="862" y="145"/>
                </a:lnTo>
                <a:lnTo>
                  <a:pt x="878" y="147"/>
                </a:lnTo>
                <a:lnTo>
                  <a:pt x="893" y="149"/>
                </a:lnTo>
                <a:lnTo>
                  <a:pt x="909" y="150"/>
                </a:lnTo>
                <a:lnTo>
                  <a:pt x="909" y="150"/>
                </a:lnTo>
                <a:lnTo>
                  <a:pt x="926" y="149"/>
                </a:lnTo>
                <a:lnTo>
                  <a:pt x="942" y="147"/>
                </a:lnTo>
                <a:lnTo>
                  <a:pt x="959" y="145"/>
                </a:lnTo>
                <a:lnTo>
                  <a:pt x="974" y="142"/>
                </a:lnTo>
                <a:lnTo>
                  <a:pt x="1003" y="133"/>
                </a:lnTo>
                <a:lnTo>
                  <a:pt x="1031" y="124"/>
                </a:lnTo>
                <a:lnTo>
                  <a:pt x="1057" y="117"/>
                </a:lnTo>
                <a:lnTo>
                  <a:pt x="1080" y="109"/>
                </a:lnTo>
                <a:lnTo>
                  <a:pt x="1100" y="105"/>
                </a:lnTo>
                <a:lnTo>
                  <a:pt x="1109" y="104"/>
                </a:lnTo>
                <a:lnTo>
                  <a:pt x="1118" y="104"/>
                </a:lnTo>
                <a:lnTo>
                  <a:pt x="1118" y="104"/>
                </a:lnTo>
                <a:lnTo>
                  <a:pt x="1128" y="105"/>
                </a:lnTo>
                <a:lnTo>
                  <a:pt x="1137" y="107"/>
                </a:lnTo>
                <a:lnTo>
                  <a:pt x="1137" y="107"/>
                </a:lnTo>
                <a:lnTo>
                  <a:pt x="1143" y="109"/>
                </a:lnTo>
                <a:lnTo>
                  <a:pt x="1151" y="113"/>
                </a:lnTo>
                <a:lnTo>
                  <a:pt x="1159" y="119"/>
                </a:lnTo>
                <a:lnTo>
                  <a:pt x="1167" y="126"/>
                </a:lnTo>
                <a:lnTo>
                  <a:pt x="1175" y="135"/>
                </a:lnTo>
                <a:lnTo>
                  <a:pt x="1183" y="145"/>
                </a:lnTo>
                <a:lnTo>
                  <a:pt x="1202" y="169"/>
                </a:lnTo>
                <a:lnTo>
                  <a:pt x="1202" y="169"/>
                </a:lnTo>
                <a:lnTo>
                  <a:pt x="1221" y="195"/>
                </a:lnTo>
                <a:lnTo>
                  <a:pt x="1242" y="223"/>
                </a:lnTo>
                <a:lnTo>
                  <a:pt x="1254" y="236"/>
                </a:lnTo>
                <a:lnTo>
                  <a:pt x="1266" y="250"/>
                </a:lnTo>
                <a:lnTo>
                  <a:pt x="1280" y="263"/>
                </a:lnTo>
                <a:lnTo>
                  <a:pt x="1295" y="276"/>
                </a:lnTo>
                <a:lnTo>
                  <a:pt x="1295" y="276"/>
                </a:lnTo>
                <a:lnTo>
                  <a:pt x="1312" y="286"/>
                </a:lnTo>
                <a:lnTo>
                  <a:pt x="1328" y="295"/>
                </a:lnTo>
                <a:lnTo>
                  <a:pt x="1346" y="303"/>
                </a:lnTo>
                <a:lnTo>
                  <a:pt x="1362" y="310"/>
                </a:lnTo>
                <a:lnTo>
                  <a:pt x="1395" y="321"/>
                </a:lnTo>
                <a:lnTo>
                  <a:pt x="1427" y="332"/>
                </a:lnTo>
                <a:lnTo>
                  <a:pt x="1427" y="332"/>
                </a:lnTo>
                <a:lnTo>
                  <a:pt x="1454" y="342"/>
                </a:lnTo>
                <a:lnTo>
                  <a:pt x="1466" y="347"/>
                </a:lnTo>
                <a:lnTo>
                  <a:pt x="1476" y="352"/>
                </a:lnTo>
                <a:lnTo>
                  <a:pt x="1486" y="358"/>
                </a:lnTo>
                <a:lnTo>
                  <a:pt x="1494" y="363"/>
                </a:lnTo>
                <a:lnTo>
                  <a:pt x="1500" y="369"/>
                </a:lnTo>
                <a:lnTo>
                  <a:pt x="1504" y="374"/>
                </a:lnTo>
                <a:lnTo>
                  <a:pt x="1504" y="374"/>
                </a:lnTo>
                <a:lnTo>
                  <a:pt x="1509" y="380"/>
                </a:lnTo>
                <a:lnTo>
                  <a:pt x="1512" y="388"/>
                </a:lnTo>
                <a:lnTo>
                  <a:pt x="1514" y="397"/>
                </a:lnTo>
                <a:lnTo>
                  <a:pt x="1516" y="406"/>
                </a:lnTo>
                <a:lnTo>
                  <a:pt x="1518" y="418"/>
                </a:lnTo>
                <a:lnTo>
                  <a:pt x="1520" y="431"/>
                </a:lnTo>
                <a:lnTo>
                  <a:pt x="1521" y="461"/>
                </a:lnTo>
                <a:lnTo>
                  <a:pt x="1521" y="461"/>
                </a:lnTo>
                <a:lnTo>
                  <a:pt x="1521" y="494"/>
                </a:lnTo>
                <a:lnTo>
                  <a:pt x="1522" y="528"/>
                </a:lnTo>
                <a:lnTo>
                  <a:pt x="1523" y="547"/>
                </a:lnTo>
                <a:lnTo>
                  <a:pt x="1525" y="565"/>
                </a:lnTo>
                <a:lnTo>
                  <a:pt x="1528" y="585"/>
                </a:lnTo>
                <a:lnTo>
                  <a:pt x="1534" y="603"/>
                </a:lnTo>
                <a:lnTo>
                  <a:pt x="1534" y="603"/>
                </a:lnTo>
                <a:lnTo>
                  <a:pt x="1541" y="621"/>
                </a:lnTo>
                <a:lnTo>
                  <a:pt x="1549" y="639"/>
                </a:lnTo>
                <a:lnTo>
                  <a:pt x="1558" y="655"/>
                </a:lnTo>
                <a:lnTo>
                  <a:pt x="1567" y="670"/>
                </a:lnTo>
                <a:lnTo>
                  <a:pt x="1588" y="698"/>
                </a:lnTo>
                <a:lnTo>
                  <a:pt x="1606" y="724"/>
                </a:lnTo>
                <a:lnTo>
                  <a:pt x="1606" y="724"/>
                </a:lnTo>
                <a:lnTo>
                  <a:pt x="1623" y="749"/>
                </a:lnTo>
                <a:lnTo>
                  <a:pt x="1630" y="760"/>
                </a:lnTo>
                <a:lnTo>
                  <a:pt x="1635" y="771"/>
                </a:lnTo>
                <a:lnTo>
                  <a:pt x="1640" y="780"/>
                </a:lnTo>
                <a:lnTo>
                  <a:pt x="1643" y="790"/>
                </a:lnTo>
                <a:lnTo>
                  <a:pt x="1644" y="799"/>
                </a:lnTo>
                <a:lnTo>
                  <a:pt x="1645" y="806"/>
                </a:lnTo>
                <a:lnTo>
                  <a:pt x="1645" y="806"/>
                </a:lnTo>
                <a:lnTo>
                  <a:pt x="1644" y="814"/>
                </a:lnTo>
                <a:lnTo>
                  <a:pt x="1643" y="822"/>
                </a:lnTo>
                <a:lnTo>
                  <a:pt x="1640" y="832"/>
                </a:lnTo>
                <a:lnTo>
                  <a:pt x="1635" y="842"/>
                </a:lnTo>
                <a:lnTo>
                  <a:pt x="1630" y="853"/>
                </a:lnTo>
                <a:lnTo>
                  <a:pt x="1623" y="865"/>
                </a:lnTo>
                <a:lnTo>
                  <a:pt x="1606" y="888"/>
                </a:lnTo>
                <a:lnTo>
                  <a:pt x="1606" y="888"/>
                </a:lnTo>
                <a:lnTo>
                  <a:pt x="1588" y="914"/>
                </a:lnTo>
                <a:lnTo>
                  <a:pt x="1567" y="942"/>
                </a:lnTo>
                <a:lnTo>
                  <a:pt x="1558" y="958"/>
                </a:lnTo>
                <a:lnTo>
                  <a:pt x="1549" y="974"/>
                </a:lnTo>
                <a:lnTo>
                  <a:pt x="1541" y="991"/>
                </a:lnTo>
                <a:lnTo>
                  <a:pt x="1534" y="1009"/>
                </a:lnTo>
                <a:lnTo>
                  <a:pt x="1534" y="1009"/>
                </a:lnTo>
                <a:lnTo>
                  <a:pt x="1528" y="1029"/>
                </a:lnTo>
                <a:lnTo>
                  <a:pt x="1525" y="1047"/>
                </a:lnTo>
                <a:lnTo>
                  <a:pt x="1523" y="1066"/>
                </a:lnTo>
                <a:lnTo>
                  <a:pt x="1522" y="1084"/>
                </a:lnTo>
                <a:lnTo>
                  <a:pt x="1521" y="1119"/>
                </a:lnTo>
                <a:lnTo>
                  <a:pt x="1521" y="1152"/>
                </a:lnTo>
                <a:lnTo>
                  <a:pt x="1521" y="1152"/>
                </a:lnTo>
                <a:lnTo>
                  <a:pt x="1520" y="1181"/>
                </a:lnTo>
                <a:lnTo>
                  <a:pt x="1518" y="1194"/>
                </a:lnTo>
                <a:lnTo>
                  <a:pt x="1516" y="1206"/>
                </a:lnTo>
                <a:lnTo>
                  <a:pt x="1514" y="1216"/>
                </a:lnTo>
                <a:lnTo>
                  <a:pt x="1512" y="1226"/>
                </a:lnTo>
                <a:lnTo>
                  <a:pt x="1509" y="1233"/>
                </a:lnTo>
                <a:lnTo>
                  <a:pt x="1504" y="1239"/>
                </a:lnTo>
                <a:lnTo>
                  <a:pt x="1504" y="1239"/>
                </a:lnTo>
                <a:lnTo>
                  <a:pt x="1500" y="1244"/>
                </a:lnTo>
                <a:lnTo>
                  <a:pt x="1494" y="1250"/>
                </a:lnTo>
                <a:lnTo>
                  <a:pt x="1486" y="1256"/>
                </a:lnTo>
                <a:lnTo>
                  <a:pt x="1476" y="1261"/>
                </a:lnTo>
                <a:lnTo>
                  <a:pt x="1466" y="1267"/>
                </a:lnTo>
                <a:lnTo>
                  <a:pt x="1454" y="1271"/>
                </a:lnTo>
                <a:lnTo>
                  <a:pt x="1427" y="1282"/>
                </a:lnTo>
                <a:lnTo>
                  <a:pt x="1427" y="1282"/>
                </a:lnTo>
                <a:lnTo>
                  <a:pt x="1395" y="1291"/>
                </a:lnTo>
                <a:lnTo>
                  <a:pt x="1362" y="1303"/>
                </a:lnTo>
                <a:lnTo>
                  <a:pt x="1346" y="1310"/>
                </a:lnTo>
                <a:lnTo>
                  <a:pt x="1328" y="1317"/>
                </a:lnTo>
                <a:lnTo>
                  <a:pt x="1312" y="1327"/>
                </a:lnTo>
                <a:lnTo>
                  <a:pt x="1295" y="1337"/>
                </a:lnTo>
                <a:lnTo>
                  <a:pt x="1295" y="1337"/>
                </a:lnTo>
                <a:lnTo>
                  <a:pt x="1280" y="1350"/>
                </a:lnTo>
                <a:lnTo>
                  <a:pt x="1266" y="1363"/>
                </a:lnTo>
                <a:lnTo>
                  <a:pt x="1254" y="1377"/>
                </a:lnTo>
                <a:lnTo>
                  <a:pt x="1242" y="1391"/>
                </a:lnTo>
                <a:lnTo>
                  <a:pt x="1221" y="1418"/>
                </a:lnTo>
                <a:lnTo>
                  <a:pt x="1202" y="1445"/>
                </a:lnTo>
                <a:lnTo>
                  <a:pt x="1202" y="1445"/>
                </a:lnTo>
                <a:lnTo>
                  <a:pt x="1183" y="1468"/>
                </a:lnTo>
                <a:lnTo>
                  <a:pt x="1175" y="1477"/>
                </a:lnTo>
                <a:lnTo>
                  <a:pt x="1167" y="1486"/>
                </a:lnTo>
                <a:lnTo>
                  <a:pt x="1159" y="1494"/>
                </a:lnTo>
                <a:lnTo>
                  <a:pt x="1151" y="1499"/>
                </a:lnTo>
                <a:lnTo>
                  <a:pt x="1143" y="1503"/>
                </a:lnTo>
                <a:lnTo>
                  <a:pt x="1137" y="1505"/>
                </a:lnTo>
                <a:lnTo>
                  <a:pt x="1137" y="1505"/>
                </a:lnTo>
                <a:lnTo>
                  <a:pt x="1128" y="1508"/>
                </a:lnTo>
                <a:lnTo>
                  <a:pt x="1118" y="1509"/>
                </a:lnTo>
                <a:lnTo>
                  <a:pt x="1118" y="1509"/>
                </a:lnTo>
                <a:lnTo>
                  <a:pt x="1107" y="1509"/>
                </a:lnTo>
                <a:lnTo>
                  <a:pt x="1096" y="1507"/>
                </a:lnTo>
                <a:lnTo>
                  <a:pt x="1083" y="1503"/>
                </a:lnTo>
                <a:lnTo>
                  <a:pt x="1069" y="1500"/>
                </a:lnTo>
                <a:lnTo>
                  <a:pt x="1016" y="1594"/>
                </a:lnTo>
                <a:lnTo>
                  <a:pt x="1016" y="1594"/>
                </a:lnTo>
                <a:lnTo>
                  <a:pt x="1040" y="1601"/>
                </a:lnTo>
                <a:lnTo>
                  <a:pt x="1065" y="1606"/>
                </a:lnTo>
                <a:lnTo>
                  <a:pt x="1090" y="1611"/>
                </a:lnTo>
                <a:lnTo>
                  <a:pt x="1105" y="1612"/>
                </a:lnTo>
                <a:lnTo>
                  <a:pt x="1118" y="1614"/>
                </a:lnTo>
                <a:lnTo>
                  <a:pt x="1118" y="1614"/>
                </a:lnTo>
                <a:lnTo>
                  <a:pt x="1130" y="1612"/>
                </a:lnTo>
                <a:lnTo>
                  <a:pt x="1142" y="1611"/>
                </a:lnTo>
                <a:lnTo>
                  <a:pt x="1155" y="1609"/>
                </a:lnTo>
                <a:lnTo>
                  <a:pt x="1168" y="1606"/>
                </a:lnTo>
                <a:lnTo>
                  <a:pt x="1168" y="1606"/>
                </a:lnTo>
                <a:lnTo>
                  <a:pt x="1179" y="1602"/>
                </a:lnTo>
                <a:lnTo>
                  <a:pt x="1189" y="1597"/>
                </a:lnTo>
                <a:lnTo>
                  <a:pt x="1207" y="1587"/>
                </a:lnTo>
                <a:lnTo>
                  <a:pt x="1225" y="1576"/>
                </a:lnTo>
                <a:lnTo>
                  <a:pt x="1239" y="1563"/>
                </a:lnTo>
                <a:lnTo>
                  <a:pt x="1253" y="1549"/>
                </a:lnTo>
                <a:lnTo>
                  <a:pt x="1264" y="1535"/>
                </a:lnTo>
                <a:lnTo>
                  <a:pt x="1286" y="1507"/>
                </a:lnTo>
                <a:lnTo>
                  <a:pt x="1286" y="1507"/>
                </a:lnTo>
                <a:lnTo>
                  <a:pt x="1308" y="1477"/>
                </a:lnTo>
                <a:lnTo>
                  <a:pt x="1602" y="2005"/>
                </a:lnTo>
                <a:lnTo>
                  <a:pt x="1365" y="1933"/>
                </a:lnTo>
                <a:lnTo>
                  <a:pt x="1299" y="2175"/>
                </a:lnTo>
                <a:lnTo>
                  <a:pt x="994" y="1632"/>
                </a:lnTo>
                <a:lnTo>
                  <a:pt x="935" y="1739"/>
                </a:lnTo>
                <a:lnTo>
                  <a:pt x="1333" y="2450"/>
                </a:lnTo>
                <a:lnTo>
                  <a:pt x="1366" y="2327"/>
                </a:lnTo>
                <a:lnTo>
                  <a:pt x="1437" y="2064"/>
                </a:lnTo>
                <a:lnTo>
                  <a:pt x="1820" y="2180"/>
                </a:lnTo>
                <a:lnTo>
                  <a:pt x="1387" y="1406"/>
                </a:lnTo>
                <a:close/>
                <a:moveTo>
                  <a:pt x="806" y="1646"/>
                </a:moveTo>
                <a:lnTo>
                  <a:pt x="521" y="2157"/>
                </a:lnTo>
                <a:lnTo>
                  <a:pt x="454" y="1914"/>
                </a:lnTo>
                <a:lnTo>
                  <a:pt x="217" y="1985"/>
                </a:lnTo>
                <a:lnTo>
                  <a:pt x="399" y="1661"/>
                </a:lnTo>
                <a:lnTo>
                  <a:pt x="806" y="1646"/>
                </a:lnTo>
                <a:close/>
                <a:moveTo>
                  <a:pt x="1458" y="806"/>
                </a:moveTo>
                <a:lnTo>
                  <a:pt x="1458" y="806"/>
                </a:lnTo>
                <a:lnTo>
                  <a:pt x="1458" y="778"/>
                </a:lnTo>
                <a:lnTo>
                  <a:pt x="1456" y="750"/>
                </a:lnTo>
                <a:lnTo>
                  <a:pt x="1451" y="723"/>
                </a:lnTo>
                <a:lnTo>
                  <a:pt x="1447" y="696"/>
                </a:lnTo>
                <a:lnTo>
                  <a:pt x="1441" y="669"/>
                </a:lnTo>
                <a:lnTo>
                  <a:pt x="1433" y="643"/>
                </a:lnTo>
                <a:lnTo>
                  <a:pt x="1424" y="617"/>
                </a:lnTo>
                <a:lnTo>
                  <a:pt x="1415" y="592"/>
                </a:lnTo>
                <a:lnTo>
                  <a:pt x="1404" y="568"/>
                </a:lnTo>
                <a:lnTo>
                  <a:pt x="1392" y="545"/>
                </a:lnTo>
                <a:lnTo>
                  <a:pt x="1379" y="522"/>
                </a:lnTo>
                <a:lnTo>
                  <a:pt x="1364" y="499"/>
                </a:lnTo>
                <a:lnTo>
                  <a:pt x="1349" y="478"/>
                </a:lnTo>
                <a:lnTo>
                  <a:pt x="1333" y="457"/>
                </a:lnTo>
                <a:lnTo>
                  <a:pt x="1315" y="438"/>
                </a:lnTo>
                <a:lnTo>
                  <a:pt x="1297" y="418"/>
                </a:lnTo>
                <a:lnTo>
                  <a:pt x="1279" y="400"/>
                </a:lnTo>
                <a:lnTo>
                  <a:pt x="1258" y="383"/>
                </a:lnTo>
                <a:lnTo>
                  <a:pt x="1237" y="366"/>
                </a:lnTo>
                <a:lnTo>
                  <a:pt x="1216" y="351"/>
                </a:lnTo>
                <a:lnTo>
                  <a:pt x="1194" y="337"/>
                </a:lnTo>
                <a:lnTo>
                  <a:pt x="1170" y="324"/>
                </a:lnTo>
                <a:lnTo>
                  <a:pt x="1148" y="311"/>
                </a:lnTo>
                <a:lnTo>
                  <a:pt x="1123" y="300"/>
                </a:lnTo>
                <a:lnTo>
                  <a:pt x="1098" y="291"/>
                </a:lnTo>
                <a:lnTo>
                  <a:pt x="1072" y="282"/>
                </a:lnTo>
                <a:lnTo>
                  <a:pt x="1046" y="275"/>
                </a:lnTo>
                <a:lnTo>
                  <a:pt x="1020" y="269"/>
                </a:lnTo>
                <a:lnTo>
                  <a:pt x="993" y="264"/>
                </a:lnTo>
                <a:lnTo>
                  <a:pt x="965" y="260"/>
                </a:lnTo>
                <a:lnTo>
                  <a:pt x="938" y="258"/>
                </a:lnTo>
                <a:lnTo>
                  <a:pt x="909" y="257"/>
                </a:lnTo>
                <a:lnTo>
                  <a:pt x="909" y="257"/>
                </a:lnTo>
                <a:lnTo>
                  <a:pt x="881" y="258"/>
                </a:lnTo>
                <a:lnTo>
                  <a:pt x="853" y="260"/>
                </a:lnTo>
                <a:lnTo>
                  <a:pt x="826" y="264"/>
                </a:lnTo>
                <a:lnTo>
                  <a:pt x="799" y="269"/>
                </a:lnTo>
                <a:lnTo>
                  <a:pt x="772" y="275"/>
                </a:lnTo>
                <a:lnTo>
                  <a:pt x="746" y="282"/>
                </a:lnTo>
                <a:lnTo>
                  <a:pt x="721" y="291"/>
                </a:lnTo>
                <a:lnTo>
                  <a:pt x="696" y="300"/>
                </a:lnTo>
                <a:lnTo>
                  <a:pt x="671" y="311"/>
                </a:lnTo>
                <a:lnTo>
                  <a:pt x="647" y="324"/>
                </a:lnTo>
                <a:lnTo>
                  <a:pt x="625" y="337"/>
                </a:lnTo>
                <a:lnTo>
                  <a:pt x="602" y="351"/>
                </a:lnTo>
                <a:lnTo>
                  <a:pt x="581" y="366"/>
                </a:lnTo>
                <a:lnTo>
                  <a:pt x="560" y="383"/>
                </a:lnTo>
                <a:lnTo>
                  <a:pt x="540" y="400"/>
                </a:lnTo>
                <a:lnTo>
                  <a:pt x="521" y="418"/>
                </a:lnTo>
                <a:lnTo>
                  <a:pt x="503" y="438"/>
                </a:lnTo>
                <a:lnTo>
                  <a:pt x="486" y="457"/>
                </a:lnTo>
                <a:lnTo>
                  <a:pt x="469" y="478"/>
                </a:lnTo>
                <a:lnTo>
                  <a:pt x="454" y="499"/>
                </a:lnTo>
                <a:lnTo>
                  <a:pt x="440" y="522"/>
                </a:lnTo>
                <a:lnTo>
                  <a:pt x="427" y="545"/>
                </a:lnTo>
                <a:lnTo>
                  <a:pt x="415" y="568"/>
                </a:lnTo>
                <a:lnTo>
                  <a:pt x="403" y="592"/>
                </a:lnTo>
                <a:lnTo>
                  <a:pt x="393" y="617"/>
                </a:lnTo>
                <a:lnTo>
                  <a:pt x="385" y="643"/>
                </a:lnTo>
                <a:lnTo>
                  <a:pt x="378" y="669"/>
                </a:lnTo>
                <a:lnTo>
                  <a:pt x="372" y="696"/>
                </a:lnTo>
                <a:lnTo>
                  <a:pt x="366" y="723"/>
                </a:lnTo>
                <a:lnTo>
                  <a:pt x="363" y="750"/>
                </a:lnTo>
                <a:lnTo>
                  <a:pt x="361" y="778"/>
                </a:lnTo>
                <a:lnTo>
                  <a:pt x="361" y="806"/>
                </a:lnTo>
                <a:lnTo>
                  <a:pt x="361" y="806"/>
                </a:lnTo>
                <a:lnTo>
                  <a:pt x="361" y="834"/>
                </a:lnTo>
                <a:lnTo>
                  <a:pt x="363" y="862"/>
                </a:lnTo>
                <a:lnTo>
                  <a:pt x="366" y="889"/>
                </a:lnTo>
                <a:lnTo>
                  <a:pt x="372" y="916"/>
                </a:lnTo>
                <a:lnTo>
                  <a:pt x="378" y="943"/>
                </a:lnTo>
                <a:lnTo>
                  <a:pt x="385" y="969"/>
                </a:lnTo>
                <a:lnTo>
                  <a:pt x="393" y="995"/>
                </a:lnTo>
                <a:lnTo>
                  <a:pt x="403" y="1020"/>
                </a:lnTo>
                <a:lnTo>
                  <a:pt x="415" y="1044"/>
                </a:lnTo>
                <a:lnTo>
                  <a:pt x="427" y="1068"/>
                </a:lnTo>
                <a:lnTo>
                  <a:pt x="440" y="1090"/>
                </a:lnTo>
                <a:lnTo>
                  <a:pt x="454" y="1113"/>
                </a:lnTo>
                <a:lnTo>
                  <a:pt x="469" y="1135"/>
                </a:lnTo>
                <a:lnTo>
                  <a:pt x="486" y="1155"/>
                </a:lnTo>
                <a:lnTo>
                  <a:pt x="503" y="1176"/>
                </a:lnTo>
                <a:lnTo>
                  <a:pt x="521" y="1194"/>
                </a:lnTo>
                <a:lnTo>
                  <a:pt x="540" y="1213"/>
                </a:lnTo>
                <a:lnTo>
                  <a:pt x="560" y="1230"/>
                </a:lnTo>
                <a:lnTo>
                  <a:pt x="581" y="1246"/>
                </a:lnTo>
                <a:lnTo>
                  <a:pt x="602" y="1261"/>
                </a:lnTo>
                <a:lnTo>
                  <a:pt x="625" y="1275"/>
                </a:lnTo>
                <a:lnTo>
                  <a:pt x="647" y="1289"/>
                </a:lnTo>
                <a:lnTo>
                  <a:pt x="671" y="1301"/>
                </a:lnTo>
                <a:lnTo>
                  <a:pt x="696" y="1312"/>
                </a:lnTo>
                <a:lnTo>
                  <a:pt x="721" y="1322"/>
                </a:lnTo>
                <a:lnTo>
                  <a:pt x="746" y="1330"/>
                </a:lnTo>
                <a:lnTo>
                  <a:pt x="772" y="1338"/>
                </a:lnTo>
                <a:lnTo>
                  <a:pt x="799" y="1344"/>
                </a:lnTo>
                <a:lnTo>
                  <a:pt x="826" y="1349"/>
                </a:lnTo>
                <a:lnTo>
                  <a:pt x="853" y="1352"/>
                </a:lnTo>
                <a:lnTo>
                  <a:pt x="881" y="1354"/>
                </a:lnTo>
                <a:lnTo>
                  <a:pt x="909" y="1355"/>
                </a:lnTo>
                <a:lnTo>
                  <a:pt x="909" y="1355"/>
                </a:lnTo>
                <a:lnTo>
                  <a:pt x="938" y="1354"/>
                </a:lnTo>
                <a:lnTo>
                  <a:pt x="965" y="1352"/>
                </a:lnTo>
                <a:lnTo>
                  <a:pt x="993" y="1349"/>
                </a:lnTo>
                <a:lnTo>
                  <a:pt x="1020" y="1344"/>
                </a:lnTo>
                <a:lnTo>
                  <a:pt x="1046" y="1338"/>
                </a:lnTo>
                <a:lnTo>
                  <a:pt x="1072" y="1330"/>
                </a:lnTo>
                <a:lnTo>
                  <a:pt x="1098" y="1322"/>
                </a:lnTo>
                <a:lnTo>
                  <a:pt x="1123" y="1312"/>
                </a:lnTo>
                <a:lnTo>
                  <a:pt x="1148" y="1301"/>
                </a:lnTo>
                <a:lnTo>
                  <a:pt x="1170" y="1289"/>
                </a:lnTo>
                <a:lnTo>
                  <a:pt x="1194" y="1275"/>
                </a:lnTo>
                <a:lnTo>
                  <a:pt x="1216" y="1261"/>
                </a:lnTo>
                <a:lnTo>
                  <a:pt x="1237" y="1246"/>
                </a:lnTo>
                <a:lnTo>
                  <a:pt x="1258" y="1230"/>
                </a:lnTo>
                <a:lnTo>
                  <a:pt x="1279" y="1213"/>
                </a:lnTo>
                <a:lnTo>
                  <a:pt x="1297" y="1194"/>
                </a:lnTo>
                <a:lnTo>
                  <a:pt x="1315" y="1176"/>
                </a:lnTo>
                <a:lnTo>
                  <a:pt x="1333" y="1155"/>
                </a:lnTo>
                <a:lnTo>
                  <a:pt x="1349" y="1135"/>
                </a:lnTo>
                <a:lnTo>
                  <a:pt x="1364" y="1113"/>
                </a:lnTo>
                <a:lnTo>
                  <a:pt x="1379" y="1090"/>
                </a:lnTo>
                <a:lnTo>
                  <a:pt x="1392" y="1068"/>
                </a:lnTo>
                <a:lnTo>
                  <a:pt x="1404" y="1044"/>
                </a:lnTo>
                <a:lnTo>
                  <a:pt x="1415" y="1020"/>
                </a:lnTo>
                <a:lnTo>
                  <a:pt x="1424" y="995"/>
                </a:lnTo>
                <a:lnTo>
                  <a:pt x="1433" y="969"/>
                </a:lnTo>
                <a:lnTo>
                  <a:pt x="1441" y="943"/>
                </a:lnTo>
                <a:lnTo>
                  <a:pt x="1447" y="916"/>
                </a:lnTo>
                <a:lnTo>
                  <a:pt x="1451" y="889"/>
                </a:lnTo>
                <a:lnTo>
                  <a:pt x="1456" y="862"/>
                </a:lnTo>
                <a:lnTo>
                  <a:pt x="1458" y="834"/>
                </a:lnTo>
                <a:lnTo>
                  <a:pt x="1458" y="806"/>
                </a:lnTo>
                <a:close/>
                <a:moveTo>
                  <a:pt x="909" y="1303"/>
                </a:moveTo>
                <a:lnTo>
                  <a:pt x="909" y="1303"/>
                </a:lnTo>
                <a:lnTo>
                  <a:pt x="884" y="1302"/>
                </a:lnTo>
                <a:lnTo>
                  <a:pt x="858" y="1300"/>
                </a:lnTo>
                <a:lnTo>
                  <a:pt x="833" y="1297"/>
                </a:lnTo>
                <a:lnTo>
                  <a:pt x="809" y="1293"/>
                </a:lnTo>
                <a:lnTo>
                  <a:pt x="786" y="1287"/>
                </a:lnTo>
                <a:lnTo>
                  <a:pt x="762" y="1281"/>
                </a:lnTo>
                <a:lnTo>
                  <a:pt x="738" y="1272"/>
                </a:lnTo>
                <a:lnTo>
                  <a:pt x="717" y="1263"/>
                </a:lnTo>
                <a:lnTo>
                  <a:pt x="694" y="1254"/>
                </a:lnTo>
                <a:lnTo>
                  <a:pt x="672" y="1243"/>
                </a:lnTo>
                <a:lnTo>
                  <a:pt x="652" y="1231"/>
                </a:lnTo>
                <a:lnTo>
                  <a:pt x="632" y="1218"/>
                </a:lnTo>
                <a:lnTo>
                  <a:pt x="613" y="1204"/>
                </a:lnTo>
                <a:lnTo>
                  <a:pt x="593" y="1189"/>
                </a:lnTo>
                <a:lnTo>
                  <a:pt x="576" y="1174"/>
                </a:lnTo>
                <a:lnTo>
                  <a:pt x="559" y="1157"/>
                </a:lnTo>
                <a:lnTo>
                  <a:pt x="541" y="1140"/>
                </a:lnTo>
                <a:lnTo>
                  <a:pt x="526" y="1122"/>
                </a:lnTo>
                <a:lnTo>
                  <a:pt x="511" y="1103"/>
                </a:lnTo>
                <a:lnTo>
                  <a:pt x="498" y="1084"/>
                </a:lnTo>
                <a:lnTo>
                  <a:pt x="485" y="1063"/>
                </a:lnTo>
                <a:lnTo>
                  <a:pt x="473" y="1043"/>
                </a:lnTo>
                <a:lnTo>
                  <a:pt x="461" y="1021"/>
                </a:lnTo>
                <a:lnTo>
                  <a:pt x="452" y="1000"/>
                </a:lnTo>
                <a:lnTo>
                  <a:pt x="443" y="977"/>
                </a:lnTo>
                <a:lnTo>
                  <a:pt x="436" y="954"/>
                </a:lnTo>
                <a:lnTo>
                  <a:pt x="429" y="931"/>
                </a:lnTo>
                <a:lnTo>
                  <a:pt x="423" y="907"/>
                </a:lnTo>
                <a:lnTo>
                  <a:pt x="418" y="882"/>
                </a:lnTo>
                <a:lnTo>
                  <a:pt x="415" y="857"/>
                </a:lnTo>
                <a:lnTo>
                  <a:pt x="414" y="832"/>
                </a:lnTo>
                <a:lnTo>
                  <a:pt x="413" y="806"/>
                </a:lnTo>
                <a:lnTo>
                  <a:pt x="413" y="806"/>
                </a:lnTo>
                <a:lnTo>
                  <a:pt x="414" y="780"/>
                </a:lnTo>
                <a:lnTo>
                  <a:pt x="415" y="755"/>
                </a:lnTo>
                <a:lnTo>
                  <a:pt x="418" y="731"/>
                </a:lnTo>
                <a:lnTo>
                  <a:pt x="423" y="707"/>
                </a:lnTo>
                <a:lnTo>
                  <a:pt x="429" y="682"/>
                </a:lnTo>
                <a:lnTo>
                  <a:pt x="436" y="659"/>
                </a:lnTo>
                <a:lnTo>
                  <a:pt x="443" y="635"/>
                </a:lnTo>
                <a:lnTo>
                  <a:pt x="452" y="613"/>
                </a:lnTo>
                <a:lnTo>
                  <a:pt x="461" y="591"/>
                </a:lnTo>
                <a:lnTo>
                  <a:pt x="473" y="570"/>
                </a:lnTo>
                <a:lnTo>
                  <a:pt x="485" y="549"/>
                </a:lnTo>
                <a:lnTo>
                  <a:pt x="498" y="528"/>
                </a:lnTo>
                <a:lnTo>
                  <a:pt x="511" y="509"/>
                </a:lnTo>
                <a:lnTo>
                  <a:pt x="526" y="491"/>
                </a:lnTo>
                <a:lnTo>
                  <a:pt x="541" y="472"/>
                </a:lnTo>
                <a:lnTo>
                  <a:pt x="559" y="455"/>
                </a:lnTo>
                <a:lnTo>
                  <a:pt x="576" y="439"/>
                </a:lnTo>
                <a:lnTo>
                  <a:pt x="593" y="424"/>
                </a:lnTo>
                <a:lnTo>
                  <a:pt x="613" y="409"/>
                </a:lnTo>
                <a:lnTo>
                  <a:pt x="632" y="394"/>
                </a:lnTo>
                <a:lnTo>
                  <a:pt x="652" y="381"/>
                </a:lnTo>
                <a:lnTo>
                  <a:pt x="672" y="370"/>
                </a:lnTo>
                <a:lnTo>
                  <a:pt x="694" y="359"/>
                </a:lnTo>
                <a:lnTo>
                  <a:pt x="717" y="349"/>
                </a:lnTo>
                <a:lnTo>
                  <a:pt x="738" y="340"/>
                </a:lnTo>
                <a:lnTo>
                  <a:pt x="762" y="332"/>
                </a:lnTo>
                <a:lnTo>
                  <a:pt x="786" y="325"/>
                </a:lnTo>
                <a:lnTo>
                  <a:pt x="809" y="320"/>
                </a:lnTo>
                <a:lnTo>
                  <a:pt x="833" y="316"/>
                </a:lnTo>
                <a:lnTo>
                  <a:pt x="858" y="312"/>
                </a:lnTo>
                <a:lnTo>
                  <a:pt x="884" y="310"/>
                </a:lnTo>
                <a:lnTo>
                  <a:pt x="909" y="310"/>
                </a:lnTo>
                <a:lnTo>
                  <a:pt x="909" y="310"/>
                </a:lnTo>
                <a:lnTo>
                  <a:pt x="935" y="310"/>
                </a:lnTo>
                <a:lnTo>
                  <a:pt x="960" y="312"/>
                </a:lnTo>
                <a:lnTo>
                  <a:pt x="985" y="316"/>
                </a:lnTo>
                <a:lnTo>
                  <a:pt x="1009" y="320"/>
                </a:lnTo>
                <a:lnTo>
                  <a:pt x="1033" y="325"/>
                </a:lnTo>
                <a:lnTo>
                  <a:pt x="1057" y="332"/>
                </a:lnTo>
                <a:lnTo>
                  <a:pt x="1080" y="340"/>
                </a:lnTo>
                <a:lnTo>
                  <a:pt x="1102" y="349"/>
                </a:lnTo>
                <a:lnTo>
                  <a:pt x="1124" y="359"/>
                </a:lnTo>
                <a:lnTo>
                  <a:pt x="1146" y="370"/>
                </a:lnTo>
                <a:lnTo>
                  <a:pt x="1166" y="381"/>
                </a:lnTo>
                <a:lnTo>
                  <a:pt x="1187" y="394"/>
                </a:lnTo>
                <a:lnTo>
                  <a:pt x="1206" y="409"/>
                </a:lnTo>
                <a:lnTo>
                  <a:pt x="1225" y="424"/>
                </a:lnTo>
                <a:lnTo>
                  <a:pt x="1243" y="439"/>
                </a:lnTo>
                <a:lnTo>
                  <a:pt x="1260" y="455"/>
                </a:lnTo>
                <a:lnTo>
                  <a:pt x="1276" y="472"/>
                </a:lnTo>
                <a:lnTo>
                  <a:pt x="1293" y="491"/>
                </a:lnTo>
                <a:lnTo>
                  <a:pt x="1307" y="509"/>
                </a:lnTo>
                <a:lnTo>
                  <a:pt x="1321" y="528"/>
                </a:lnTo>
                <a:lnTo>
                  <a:pt x="1334" y="549"/>
                </a:lnTo>
                <a:lnTo>
                  <a:pt x="1346" y="570"/>
                </a:lnTo>
                <a:lnTo>
                  <a:pt x="1356" y="591"/>
                </a:lnTo>
                <a:lnTo>
                  <a:pt x="1366" y="613"/>
                </a:lnTo>
                <a:lnTo>
                  <a:pt x="1376" y="635"/>
                </a:lnTo>
                <a:lnTo>
                  <a:pt x="1383" y="659"/>
                </a:lnTo>
                <a:lnTo>
                  <a:pt x="1390" y="682"/>
                </a:lnTo>
                <a:lnTo>
                  <a:pt x="1395" y="707"/>
                </a:lnTo>
                <a:lnTo>
                  <a:pt x="1400" y="731"/>
                </a:lnTo>
                <a:lnTo>
                  <a:pt x="1403" y="755"/>
                </a:lnTo>
                <a:lnTo>
                  <a:pt x="1405" y="780"/>
                </a:lnTo>
                <a:lnTo>
                  <a:pt x="1406" y="806"/>
                </a:lnTo>
                <a:lnTo>
                  <a:pt x="1406" y="806"/>
                </a:lnTo>
                <a:lnTo>
                  <a:pt x="1405" y="832"/>
                </a:lnTo>
                <a:lnTo>
                  <a:pt x="1403" y="857"/>
                </a:lnTo>
                <a:lnTo>
                  <a:pt x="1400" y="882"/>
                </a:lnTo>
                <a:lnTo>
                  <a:pt x="1395" y="907"/>
                </a:lnTo>
                <a:lnTo>
                  <a:pt x="1390" y="931"/>
                </a:lnTo>
                <a:lnTo>
                  <a:pt x="1383" y="954"/>
                </a:lnTo>
                <a:lnTo>
                  <a:pt x="1376" y="977"/>
                </a:lnTo>
                <a:lnTo>
                  <a:pt x="1366" y="1000"/>
                </a:lnTo>
                <a:lnTo>
                  <a:pt x="1356" y="1021"/>
                </a:lnTo>
                <a:lnTo>
                  <a:pt x="1346" y="1043"/>
                </a:lnTo>
                <a:lnTo>
                  <a:pt x="1334" y="1063"/>
                </a:lnTo>
                <a:lnTo>
                  <a:pt x="1321" y="1084"/>
                </a:lnTo>
                <a:lnTo>
                  <a:pt x="1307" y="1103"/>
                </a:lnTo>
                <a:lnTo>
                  <a:pt x="1293" y="1122"/>
                </a:lnTo>
                <a:lnTo>
                  <a:pt x="1276" y="1140"/>
                </a:lnTo>
                <a:lnTo>
                  <a:pt x="1260" y="1157"/>
                </a:lnTo>
                <a:lnTo>
                  <a:pt x="1243" y="1174"/>
                </a:lnTo>
                <a:lnTo>
                  <a:pt x="1225" y="1189"/>
                </a:lnTo>
                <a:lnTo>
                  <a:pt x="1206" y="1204"/>
                </a:lnTo>
                <a:lnTo>
                  <a:pt x="1187" y="1218"/>
                </a:lnTo>
                <a:lnTo>
                  <a:pt x="1166" y="1231"/>
                </a:lnTo>
                <a:lnTo>
                  <a:pt x="1146" y="1243"/>
                </a:lnTo>
                <a:lnTo>
                  <a:pt x="1124" y="1254"/>
                </a:lnTo>
                <a:lnTo>
                  <a:pt x="1102" y="1263"/>
                </a:lnTo>
                <a:lnTo>
                  <a:pt x="1080" y="1272"/>
                </a:lnTo>
                <a:lnTo>
                  <a:pt x="1057" y="1281"/>
                </a:lnTo>
                <a:lnTo>
                  <a:pt x="1033" y="1287"/>
                </a:lnTo>
                <a:lnTo>
                  <a:pt x="1009" y="1293"/>
                </a:lnTo>
                <a:lnTo>
                  <a:pt x="985" y="1297"/>
                </a:lnTo>
                <a:lnTo>
                  <a:pt x="960" y="1300"/>
                </a:lnTo>
                <a:lnTo>
                  <a:pt x="935" y="1302"/>
                </a:lnTo>
                <a:lnTo>
                  <a:pt x="909" y="1303"/>
                </a:lnTo>
                <a:close/>
              </a:path>
            </a:pathLst>
          </a:custGeom>
          <a:solidFill>
            <a:srgbClr val="FFFFFF"/>
          </a:solidFill>
          <a:ln>
            <a:noFill/>
          </a:ln>
        </p:spPr>
        <p:txBody>
          <a:bodyPr vert="horz" wrap="square" lIns="91337" tIns="45669" rIns="91337" bIns="45669" numCol="1" anchor="t" anchorCtr="0" compatLnSpc="1">
            <a:prstTxWarp prst="textNoShape">
              <a:avLst/>
            </a:prstTxWarp>
          </a:bodyPr>
          <a:lstStyle/>
          <a:p>
            <a:pPr eaLnBrk="0" fontAlgn="base" hangingPunct="0">
              <a:spcBef>
                <a:spcPct val="0"/>
              </a:spcBef>
              <a:spcAft>
                <a:spcPct val="0"/>
              </a:spcAft>
              <a:defRPr/>
            </a:pPr>
            <a:endParaRPr lang="de-DE" sz="1400" kern="0">
              <a:solidFill>
                <a:srgbClr val="0C419A"/>
              </a:solidFill>
              <a:latin typeface="Arial" panose="020B0604020202020204" pitchFamily="34" charset="0"/>
            </a:endParaRPr>
          </a:p>
        </p:txBody>
      </p:sp>
      <p:sp>
        <p:nvSpPr>
          <p:cNvPr id="70" name="Freeform 53">
            <a:extLst>
              <a:ext uri="{FF2B5EF4-FFF2-40B4-BE49-F238E27FC236}">
                <a16:creationId xmlns:a16="http://schemas.microsoft.com/office/drawing/2014/main" id="{E57EA456-0058-444D-99DC-2F3A4B6AE6D5}"/>
              </a:ext>
            </a:extLst>
          </p:cNvPr>
          <p:cNvSpPr>
            <a:spLocks noChangeAspect="1" noEditPoints="1"/>
          </p:cNvSpPr>
          <p:nvPr/>
        </p:nvSpPr>
        <p:spPr bwMode="auto">
          <a:xfrm>
            <a:off x="3730439" y="2558042"/>
            <a:ext cx="320327" cy="320327"/>
          </a:xfrm>
          <a:custGeom>
            <a:avLst/>
            <a:gdLst>
              <a:gd name="T0" fmla="*/ 140 w 140"/>
              <a:gd name="T1" fmla="*/ 35 h 143"/>
              <a:gd name="T2" fmla="*/ 133 w 140"/>
              <a:gd name="T3" fmla="*/ 14 h 143"/>
              <a:gd name="T4" fmla="*/ 130 w 140"/>
              <a:gd name="T5" fmla="*/ 11 h 143"/>
              <a:gd name="T6" fmla="*/ 105 w 140"/>
              <a:gd name="T7" fmla="*/ 0 h 143"/>
              <a:gd name="T8" fmla="*/ 82 w 140"/>
              <a:gd name="T9" fmla="*/ 8 h 143"/>
              <a:gd name="T10" fmla="*/ 80 w 140"/>
              <a:gd name="T11" fmla="*/ 10 h 143"/>
              <a:gd name="T12" fmla="*/ 11 w 140"/>
              <a:gd name="T13" fmla="*/ 79 h 143"/>
              <a:gd name="T14" fmla="*/ 0 w 140"/>
              <a:gd name="T15" fmla="*/ 106 h 143"/>
              <a:gd name="T16" fmla="*/ 4 w 140"/>
              <a:gd name="T17" fmla="*/ 120 h 143"/>
              <a:gd name="T18" fmla="*/ 11 w 140"/>
              <a:gd name="T19" fmla="*/ 129 h 143"/>
              <a:gd name="T20" fmla="*/ 61 w 140"/>
              <a:gd name="T21" fmla="*/ 129 h 143"/>
              <a:gd name="T22" fmla="*/ 130 w 140"/>
              <a:gd name="T23" fmla="*/ 60 h 143"/>
              <a:gd name="T24" fmla="*/ 140 w 140"/>
              <a:gd name="T25" fmla="*/ 35 h 143"/>
              <a:gd name="T26" fmla="*/ 91 w 140"/>
              <a:gd name="T27" fmla="*/ 86 h 143"/>
              <a:gd name="T28" fmla="*/ 88 w 140"/>
              <a:gd name="T29" fmla="*/ 88 h 143"/>
              <a:gd name="T30" fmla="*/ 73 w 140"/>
              <a:gd name="T31" fmla="*/ 81 h 143"/>
              <a:gd name="T32" fmla="*/ 55 w 140"/>
              <a:gd name="T33" fmla="*/ 65 h 143"/>
              <a:gd name="T34" fmla="*/ 27 w 140"/>
              <a:gd name="T35" fmla="*/ 93 h 143"/>
              <a:gd name="T36" fmla="*/ 21 w 140"/>
              <a:gd name="T37" fmla="*/ 125 h 143"/>
              <a:gd name="T38" fmla="*/ 18 w 140"/>
              <a:gd name="T39" fmla="*/ 123 h 143"/>
              <a:gd name="T40" fmla="*/ 18 w 140"/>
              <a:gd name="T41" fmla="*/ 86 h 143"/>
              <a:gd name="T42" fmla="*/ 87 w 140"/>
              <a:gd name="T43" fmla="*/ 17 h 143"/>
              <a:gd name="T44" fmla="*/ 123 w 140"/>
              <a:gd name="T45" fmla="*/ 17 h 143"/>
              <a:gd name="T46" fmla="*/ 123 w 140"/>
              <a:gd name="T47" fmla="*/ 54 h 143"/>
              <a:gd name="T48" fmla="*/ 91 w 140"/>
              <a:gd name="T49" fmla="*/ 8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3">
                <a:moveTo>
                  <a:pt x="140" y="35"/>
                </a:moveTo>
                <a:cubicBezTo>
                  <a:pt x="140" y="28"/>
                  <a:pt x="138" y="20"/>
                  <a:pt x="133" y="14"/>
                </a:cubicBezTo>
                <a:cubicBezTo>
                  <a:pt x="132" y="13"/>
                  <a:pt x="131" y="12"/>
                  <a:pt x="130" y="11"/>
                </a:cubicBezTo>
                <a:cubicBezTo>
                  <a:pt x="123" y="4"/>
                  <a:pt x="114" y="0"/>
                  <a:pt x="105" y="0"/>
                </a:cubicBezTo>
                <a:cubicBezTo>
                  <a:pt x="96" y="0"/>
                  <a:pt x="89" y="3"/>
                  <a:pt x="82" y="8"/>
                </a:cubicBezTo>
                <a:cubicBezTo>
                  <a:pt x="81" y="8"/>
                  <a:pt x="81" y="9"/>
                  <a:pt x="80" y="10"/>
                </a:cubicBezTo>
                <a:cubicBezTo>
                  <a:pt x="11" y="79"/>
                  <a:pt x="11" y="79"/>
                  <a:pt x="11" y="79"/>
                </a:cubicBezTo>
                <a:cubicBezTo>
                  <a:pt x="3" y="86"/>
                  <a:pt x="0" y="96"/>
                  <a:pt x="0" y="106"/>
                </a:cubicBezTo>
                <a:cubicBezTo>
                  <a:pt x="1" y="111"/>
                  <a:pt x="2" y="116"/>
                  <a:pt x="4" y="120"/>
                </a:cubicBezTo>
                <a:cubicBezTo>
                  <a:pt x="6" y="124"/>
                  <a:pt x="8" y="127"/>
                  <a:pt x="11" y="129"/>
                </a:cubicBezTo>
                <a:cubicBezTo>
                  <a:pt x="25" y="143"/>
                  <a:pt x="47" y="143"/>
                  <a:pt x="61" y="129"/>
                </a:cubicBezTo>
                <a:cubicBezTo>
                  <a:pt x="130" y="60"/>
                  <a:pt x="130" y="60"/>
                  <a:pt x="130" y="60"/>
                </a:cubicBezTo>
                <a:cubicBezTo>
                  <a:pt x="137" y="54"/>
                  <a:pt x="140" y="45"/>
                  <a:pt x="140" y="35"/>
                </a:cubicBezTo>
                <a:close/>
                <a:moveTo>
                  <a:pt x="91" y="86"/>
                </a:moveTo>
                <a:cubicBezTo>
                  <a:pt x="88" y="88"/>
                  <a:pt x="88" y="88"/>
                  <a:pt x="88" y="88"/>
                </a:cubicBezTo>
                <a:cubicBezTo>
                  <a:pt x="87" y="88"/>
                  <a:pt x="83" y="87"/>
                  <a:pt x="73" y="81"/>
                </a:cubicBezTo>
                <a:cubicBezTo>
                  <a:pt x="69" y="77"/>
                  <a:pt x="62" y="72"/>
                  <a:pt x="55" y="65"/>
                </a:cubicBezTo>
                <a:cubicBezTo>
                  <a:pt x="55" y="65"/>
                  <a:pt x="35" y="85"/>
                  <a:pt x="27" y="93"/>
                </a:cubicBezTo>
                <a:cubicBezTo>
                  <a:pt x="20" y="99"/>
                  <a:pt x="14" y="112"/>
                  <a:pt x="21" y="125"/>
                </a:cubicBezTo>
                <a:cubicBezTo>
                  <a:pt x="20" y="124"/>
                  <a:pt x="19" y="123"/>
                  <a:pt x="18" y="123"/>
                </a:cubicBezTo>
                <a:cubicBezTo>
                  <a:pt x="8" y="112"/>
                  <a:pt x="8" y="96"/>
                  <a:pt x="18" y="86"/>
                </a:cubicBezTo>
                <a:cubicBezTo>
                  <a:pt x="87" y="17"/>
                  <a:pt x="87" y="17"/>
                  <a:pt x="87" y="17"/>
                </a:cubicBezTo>
                <a:cubicBezTo>
                  <a:pt x="97" y="7"/>
                  <a:pt x="112" y="7"/>
                  <a:pt x="123" y="17"/>
                </a:cubicBezTo>
                <a:cubicBezTo>
                  <a:pt x="133" y="28"/>
                  <a:pt x="133" y="44"/>
                  <a:pt x="123" y="54"/>
                </a:cubicBezTo>
                <a:lnTo>
                  <a:pt x="91" y="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37" tIns="467482" rIns="91337" bIns="45669" numCol="1" anchor="ctr" anchorCtr="0" compatLnSpc="1">
            <a:prstTxWarp prst="textNoShape">
              <a:avLst/>
            </a:prstTxWarp>
          </a:bodyPr>
          <a:lstStyle/>
          <a:p>
            <a:pPr eaLnBrk="0" fontAlgn="base" hangingPunct="0">
              <a:spcBef>
                <a:spcPct val="0"/>
              </a:spcBef>
              <a:spcAft>
                <a:spcPct val="0"/>
              </a:spcAft>
              <a:defRPr/>
            </a:pPr>
            <a:endParaRPr lang="fr-FR" sz="1400" kern="0">
              <a:solidFill>
                <a:srgbClr val="0C419A"/>
              </a:solidFill>
              <a:latin typeface="Arial" panose="020B0604020202020204" pitchFamily="34" charset="0"/>
            </a:endParaRPr>
          </a:p>
        </p:txBody>
      </p:sp>
      <p:grpSp>
        <p:nvGrpSpPr>
          <p:cNvPr id="72" name="Group 71">
            <a:extLst>
              <a:ext uri="{FF2B5EF4-FFF2-40B4-BE49-F238E27FC236}">
                <a16:creationId xmlns:a16="http://schemas.microsoft.com/office/drawing/2014/main" id="{6C65ECA4-9561-4B05-927C-22482B82DCF2}"/>
              </a:ext>
            </a:extLst>
          </p:cNvPr>
          <p:cNvGrpSpPr/>
          <p:nvPr/>
        </p:nvGrpSpPr>
        <p:grpSpPr>
          <a:xfrm>
            <a:off x="1370784" y="5674796"/>
            <a:ext cx="6890263" cy="937775"/>
            <a:chOff x="2285120" y="5339203"/>
            <a:chExt cx="6890263" cy="937775"/>
          </a:xfrm>
        </p:grpSpPr>
        <p:sp>
          <p:nvSpPr>
            <p:cNvPr id="73" name="TextBox 12">
              <a:extLst>
                <a:ext uri="{FF2B5EF4-FFF2-40B4-BE49-F238E27FC236}">
                  <a16:creationId xmlns:a16="http://schemas.microsoft.com/office/drawing/2014/main" id="{5BD984AE-BBC9-4D7E-9946-B3BBAF518D26}"/>
                </a:ext>
              </a:extLst>
            </p:cNvPr>
            <p:cNvSpPr txBox="1"/>
            <p:nvPr/>
          </p:nvSpPr>
          <p:spPr>
            <a:xfrm>
              <a:off x="2285120" y="5580482"/>
              <a:ext cx="6890263" cy="696496"/>
            </a:xfrm>
            <a:prstGeom prst="rect">
              <a:avLst/>
            </a:prstGeom>
            <a:noFill/>
            <a:ln>
              <a:solidFill>
                <a:schemeClr val="accent2"/>
              </a:solidFill>
            </a:ln>
          </p:spPr>
          <p:txBody>
            <a:bodyPr wrap="square" tIns="252000" bIns="72000" rtlCol="0">
              <a:spAutoFit/>
            </a:bodyPr>
            <a:lstStyle/>
            <a:p>
              <a:pPr algn="ctr"/>
              <a:r>
                <a:rPr lang="fr-FR" sz="1200">
                  <a:solidFill>
                    <a:srgbClr val="002060"/>
                  </a:solidFill>
                </a:rPr>
                <a:t>Certains documents se retrouvent dans la brique « Profil médical » de Mon espace santé, notamment les vaccinations, les historiques de soins et les directives anticipées</a:t>
              </a:r>
            </a:p>
          </p:txBody>
        </p:sp>
        <p:grpSp>
          <p:nvGrpSpPr>
            <p:cNvPr id="74" name="Group 73">
              <a:extLst>
                <a:ext uri="{FF2B5EF4-FFF2-40B4-BE49-F238E27FC236}">
                  <a16:creationId xmlns:a16="http://schemas.microsoft.com/office/drawing/2014/main" id="{B4AA6F33-8650-46A0-9D0B-01AD96A02218}"/>
                </a:ext>
              </a:extLst>
            </p:cNvPr>
            <p:cNvGrpSpPr>
              <a:grpSpLocks noChangeAspect="1"/>
            </p:cNvGrpSpPr>
            <p:nvPr/>
          </p:nvGrpSpPr>
          <p:grpSpPr>
            <a:xfrm>
              <a:off x="5492364" y="5339203"/>
              <a:ext cx="484252" cy="484252"/>
              <a:chOff x="5638846" y="5069735"/>
              <a:chExt cx="484252" cy="484252"/>
            </a:xfrm>
          </p:grpSpPr>
          <p:sp>
            <p:nvSpPr>
              <p:cNvPr id="75" name="Oval 74">
                <a:extLst>
                  <a:ext uri="{FF2B5EF4-FFF2-40B4-BE49-F238E27FC236}">
                    <a16:creationId xmlns:a16="http://schemas.microsoft.com/office/drawing/2014/main" id="{0CF70BBE-C1BC-417F-8198-DD7529A7ADD1}"/>
                  </a:ext>
                </a:extLst>
              </p:cNvPr>
              <p:cNvSpPr>
                <a:spLocks noChangeAspect="1"/>
              </p:cNvSpPr>
              <p:nvPr/>
            </p:nvSpPr>
            <p:spPr>
              <a:xfrm>
                <a:off x="5638847" y="5069736"/>
                <a:ext cx="484251" cy="48425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6" name="Graphic 75" descr="Information outline">
                <a:extLst>
                  <a:ext uri="{FF2B5EF4-FFF2-40B4-BE49-F238E27FC236}">
                    <a16:creationId xmlns:a16="http://schemas.microsoft.com/office/drawing/2014/main" id="{6969237D-634E-4E36-833C-BCF24049C3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38846" y="5069735"/>
                <a:ext cx="484252" cy="484252"/>
              </a:xfrm>
              <a:prstGeom prst="rect">
                <a:avLst/>
              </a:prstGeom>
            </p:spPr>
          </p:pic>
        </p:grpSp>
      </p:grpSp>
      <p:grpSp>
        <p:nvGrpSpPr>
          <p:cNvPr id="78" name="Group 77">
            <a:extLst>
              <a:ext uri="{FF2B5EF4-FFF2-40B4-BE49-F238E27FC236}">
                <a16:creationId xmlns:a16="http://schemas.microsoft.com/office/drawing/2014/main" id="{9757AB83-8062-409E-AE46-CF99DF418D1D}"/>
              </a:ext>
            </a:extLst>
          </p:cNvPr>
          <p:cNvGrpSpPr>
            <a:grpSpLocks noChangeAspect="1"/>
          </p:cNvGrpSpPr>
          <p:nvPr/>
        </p:nvGrpSpPr>
        <p:grpSpPr>
          <a:xfrm>
            <a:off x="816819" y="4470684"/>
            <a:ext cx="597300" cy="694146"/>
            <a:chOff x="2438619" y="1977075"/>
            <a:chExt cx="774434" cy="900000"/>
          </a:xfrm>
        </p:grpSpPr>
        <p:sp>
          <p:nvSpPr>
            <p:cNvPr id="80" name="Rectangle 79">
              <a:extLst>
                <a:ext uri="{FF2B5EF4-FFF2-40B4-BE49-F238E27FC236}">
                  <a16:creationId xmlns:a16="http://schemas.microsoft.com/office/drawing/2014/main" id="{6BE59819-FD73-4250-9BE4-4FE856C289E6}"/>
                </a:ext>
              </a:extLst>
            </p:cNvPr>
            <p:cNvSpPr/>
            <p:nvPr/>
          </p:nvSpPr>
          <p:spPr>
            <a:xfrm>
              <a:off x="2438836" y="1977075"/>
              <a:ext cx="774000" cy="90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1" name="Group 80">
              <a:extLst>
                <a:ext uri="{FF2B5EF4-FFF2-40B4-BE49-F238E27FC236}">
                  <a16:creationId xmlns:a16="http://schemas.microsoft.com/office/drawing/2014/main" id="{AEC4B1FE-299A-45F6-938C-39358806419E}"/>
                </a:ext>
              </a:extLst>
            </p:cNvPr>
            <p:cNvGrpSpPr>
              <a:grpSpLocks noChangeAspect="1"/>
            </p:cNvGrpSpPr>
            <p:nvPr/>
          </p:nvGrpSpPr>
          <p:grpSpPr>
            <a:xfrm>
              <a:off x="2438619" y="1977658"/>
              <a:ext cx="774434" cy="898835"/>
              <a:chOff x="7217946" y="2881108"/>
              <a:chExt cx="1521530" cy="1765941"/>
            </a:xfrm>
          </p:grpSpPr>
          <p:grpSp>
            <p:nvGrpSpPr>
              <p:cNvPr id="82" name="Group 81">
                <a:extLst>
                  <a:ext uri="{FF2B5EF4-FFF2-40B4-BE49-F238E27FC236}">
                    <a16:creationId xmlns:a16="http://schemas.microsoft.com/office/drawing/2014/main" id="{89C167D1-23A8-4FF4-BEDF-3792CF6D3800}"/>
                  </a:ext>
                </a:extLst>
              </p:cNvPr>
              <p:cNvGrpSpPr>
                <a:grpSpLocks noChangeAspect="1"/>
              </p:cNvGrpSpPr>
              <p:nvPr/>
            </p:nvGrpSpPr>
            <p:grpSpPr bwMode="auto">
              <a:xfrm>
                <a:off x="7217946" y="2881108"/>
                <a:ext cx="1306622" cy="1439863"/>
                <a:chOff x="429" y="3030"/>
                <a:chExt cx="690" cy="907"/>
              </a:xfrm>
              <a:solidFill>
                <a:schemeClr val="bg2"/>
              </a:solidFill>
            </p:grpSpPr>
            <p:sp>
              <p:nvSpPr>
                <p:cNvPr id="88" name="Freeform 54">
                  <a:extLst>
                    <a:ext uri="{FF2B5EF4-FFF2-40B4-BE49-F238E27FC236}">
                      <a16:creationId xmlns:a16="http://schemas.microsoft.com/office/drawing/2014/main" id="{852D60AF-FEE5-48EE-A1D1-AAE493E35D72}"/>
                    </a:ext>
                  </a:extLst>
                </p:cNvPr>
                <p:cNvSpPr>
                  <a:spLocks noEditPoints="1"/>
                </p:cNvSpPr>
                <p:nvPr/>
              </p:nvSpPr>
              <p:spPr bwMode="auto">
                <a:xfrm>
                  <a:off x="611" y="3190"/>
                  <a:ext cx="327" cy="327"/>
                </a:xfrm>
                <a:custGeom>
                  <a:avLst/>
                  <a:gdLst>
                    <a:gd name="T0" fmla="*/ 399 w 799"/>
                    <a:gd name="T1" fmla="*/ 803 h 803"/>
                    <a:gd name="T2" fmla="*/ 0 w 799"/>
                    <a:gd name="T3" fmla="*/ 321 h 803"/>
                    <a:gd name="T4" fmla="*/ 0 w 799"/>
                    <a:gd name="T5" fmla="*/ 306 h 803"/>
                    <a:gd name="T6" fmla="*/ 12 w 799"/>
                    <a:gd name="T7" fmla="*/ 299 h 803"/>
                    <a:gd name="T8" fmla="*/ 351 w 799"/>
                    <a:gd name="T9" fmla="*/ 27 h 803"/>
                    <a:gd name="T10" fmla="*/ 411 w 799"/>
                    <a:gd name="T11" fmla="*/ 1 h 803"/>
                    <a:gd name="T12" fmla="*/ 472 w 799"/>
                    <a:gd name="T13" fmla="*/ 31 h 803"/>
                    <a:gd name="T14" fmla="*/ 783 w 799"/>
                    <a:gd name="T15" fmla="*/ 297 h 803"/>
                    <a:gd name="T16" fmla="*/ 799 w 799"/>
                    <a:gd name="T17" fmla="*/ 304 h 803"/>
                    <a:gd name="T18" fmla="*/ 799 w 799"/>
                    <a:gd name="T19" fmla="*/ 321 h 803"/>
                    <a:gd name="T20" fmla="*/ 399 w 799"/>
                    <a:gd name="T21" fmla="*/ 803 h 803"/>
                    <a:gd name="T22" fmla="*/ 52 w 799"/>
                    <a:gd name="T23" fmla="*/ 335 h 803"/>
                    <a:gd name="T24" fmla="*/ 399 w 799"/>
                    <a:gd name="T25" fmla="*/ 751 h 803"/>
                    <a:gd name="T26" fmla="*/ 746 w 799"/>
                    <a:gd name="T27" fmla="*/ 337 h 803"/>
                    <a:gd name="T28" fmla="*/ 431 w 799"/>
                    <a:gd name="T29" fmla="*/ 63 h 803"/>
                    <a:gd name="T30" fmla="*/ 410 w 799"/>
                    <a:gd name="T31" fmla="*/ 53 h 803"/>
                    <a:gd name="T32" fmla="*/ 390 w 799"/>
                    <a:gd name="T33" fmla="*/ 62 h 803"/>
                    <a:gd name="T34" fmla="*/ 52 w 799"/>
                    <a:gd name="T35" fmla="*/ 33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803">
                      <a:moveTo>
                        <a:pt x="399" y="803"/>
                      </a:moveTo>
                      <a:cubicBezTo>
                        <a:pt x="179" y="803"/>
                        <a:pt x="0" y="586"/>
                        <a:pt x="0" y="321"/>
                      </a:cubicBezTo>
                      <a:cubicBezTo>
                        <a:pt x="0" y="306"/>
                        <a:pt x="0" y="306"/>
                        <a:pt x="0" y="306"/>
                      </a:cubicBezTo>
                      <a:cubicBezTo>
                        <a:pt x="12" y="299"/>
                        <a:pt x="12" y="299"/>
                        <a:pt x="12" y="299"/>
                      </a:cubicBezTo>
                      <a:cubicBezTo>
                        <a:pt x="14" y="297"/>
                        <a:pt x="237" y="154"/>
                        <a:pt x="351" y="27"/>
                      </a:cubicBezTo>
                      <a:cubicBezTo>
                        <a:pt x="366" y="10"/>
                        <a:pt x="388" y="0"/>
                        <a:pt x="411" y="1"/>
                      </a:cubicBezTo>
                      <a:cubicBezTo>
                        <a:pt x="435" y="1"/>
                        <a:pt x="457" y="12"/>
                        <a:pt x="472" y="31"/>
                      </a:cubicBezTo>
                      <a:cubicBezTo>
                        <a:pt x="532" y="105"/>
                        <a:pt x="653" y="238"/>
                        <a:pt x="783" y="297"/>
                      </a:cubicBezTo>
                      <a:cubicBezTo>
                        <a:pt x="799" y="304"/>
                        <a:pt x="799" y="304"/>
                        <a:pt x="799" y="304"/>
                      </a:cubicBezTo>
                      <a:cubicBezTo>
                        <a:pt x="799" y="321"/>
                        <a:pt x="799" y="321"/>
                        <a:pt x="799" y="321"/>
                      </a:cubicBezTo>
                      <a:cubicBezTo>
                        <a:pt x="799" y="586"/>
                        <a:pt x="619" y="803"/>
                        <a:pt x="399" y="803"/>
                      </a:cubicBezTo>
                      <a:close/>
                      <a:moveTo>
                        <a:pt x="52" y="335"/>
                      </a:moveTo>
                      <a:cubicBezTo>
                        <a:pt x="58" y="565"/>
                        <a:pt x="211" y="751"/>
                        <a:pt x="399" y="751"/>
                      </a:cubicBezTo>
                      <a:cubicBezTo>
                        <a:pt x="586" y="751"/>
                        <a:pt x="739" y="567"/>
                        <a:pt x="746" y="337"/>
                      </a:cubicBezTo>
                      <a:cubicBezTo>
                        <a:pt x="612" y="271"/>
                        <a:pt x="492" y="138"/>
                        <a:pt x="431" y="63"/>
                      </a:cubicBezTo>
                      <a:cubicBezTo>
                        <a:pt x="426" y="57"/>
                        <a:pt x="418" y="53"/>
                        <a:pt x="410" y="53"/>
                      </a:cubicBezTo>
                      <a:cubicBezTo>
                        <a:pt x="400" y="53"/>
                        <a:pt x="395" y="56"/>
                        <a:pt x="390" y="62"/>
                      </a:cubicBezTo>
                      <a:cubicBezTo>
                        <a:pt x="286" y="179"/>
                        <a:pt x="102" y="302"/>
                        <a:pt x="52"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55">
                  <a:extLst>
                    <a:ext uri="{FF2B5EF4-FFF2-40B4-BE49-F238E27FC236}">
                      <a16:creationId xmlns:a16="http://schemas.microsoft.com/office/drawing/2014/main" id="{6803BB5E-E416-4E3E-ADF8-BA1628C4936C}"/>
                    </a:ext>
                  </a:extLst>
                </p:cNvPr>
                <p:cNvSpPr>
                  <a:spLocks/>
                </p:cNvSpPr>
                <p:nvPr/>
              </p:nvSpPr>
              <p:spPr bwMode="auto">
                <a:xfrm>
                  <a:off x="546" y="3030"/>
                  <a:ext cx="457" cy="527"/>
                </a:xfrm>
                <a:custGeom>
                  <a:avLst/>
                  <a:gdLst>
                    <a:gd name="T0" fmla="*/ 750 w 1117"/>
                    <a:gd name="T1" fmla="*/ 1287 h 1294"/>
                    <a:gd name="T2" fmla="*/ 724 w 1117"/>
                    <a:gd name="T3" fmla="*/ 1242 h 1294"/>
                    <a:gd name="T4" fmla="*/ 1062 w 1117"/>
                    <a:gd name="T5" fmla="*/ 1067 h 1294"/>
                    <a:gd name="T6" fmla="*/ 1023 w 1117"/>
                    <a:gd name="T7" fmla="*/ 518 h 1294"/>
                    <a:gd name="T8" fmla="*/ 558 w 1117"/>
                    <a:gd name="T9" fmla="*/ 52 h 1294"/>
                    <a:gd name="T10" fmla="*/ 94 w 1117"/>
                    <a:gd name="T11" fmla="*/ 516 h 1294"/>
                    <a:gd name="T12" fmla="*/ 54 w 1117"/>
                    <a:gd name="T13" fmla="*/ 1067 h 1294"/>
                    <a:gd name="T14" fmla="*/ 396 w 1117"/>
                    <a:gd name="T15" fmla="*/ 1248 h 1294"/>
                    <a:gd name="T16" fmla="*/ 370 w 1117"/>
                    <a:gd name="T17" fmla="*/ 1294 h 1294"/>
                    <a:gd name="T18" fmla="*/ 0 w 1117"/>
                    <a:gd name="T19" fmla="*/ 1096 h 1294"/>
                    <a:gd name="T20" fmla="*/ 42 w 1117"/>
                    <a:gd name="T21" fmla="*/ 514 h 1294"/>
                    <a:gd name="T22" fmla="*/ 558 w 1117"/>
                    <a:gd name="T23" fmla="*/ 0 h 1294"/>
                    <a:gd name="T24" fmla="*/ 1075 w 1117"/>
                    <a:gd name="T25" fmla="*/ 516 h 1294"/>
                    <a:gd name="T26" fmla="*/ 1117 w 1117"/>
                    <a:gd name="T27" fmla="*/ 1096 h 1294"/>
                    <a:gd name="T28" fmla="*/ 750 w 1117"/>
                    <a:gd name="T29" fmla="*/ 1287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7" h="1294">
                      <a:moveTo>
                        <a:pt x="750" y="1287"/>
                      </a:moveTo>
                      <a:cubicBezTo>
                        <a:pt x="724" y="1242"/>
                        <a:pt x="724" y="1242"/>
                        <a:pt x="724" y="1242"/>
                      </a:cubicBezTo>
                      <a:cubicBezTo>
                        <a:pt x="1062" y="1067"/>
                        <a:pt x="1062" y="1067"/>
                        <a:pt x="1062" y="1067"/>
                      </a:cubicBezTo>
                      <a:cubicBezTo>
                        <a:pt x="1023" y="518"/>
                        <a:pt x="1023" y="518"/>
                        <a:pt x="1023" y="518"/>
                      </a:cubicBezTo>
                      <a:cubicBezTo>
                        <a:pt x="1023" y="260"/>
                        <a:pt x="814" y="52"/>
                        <a:pt x="558" y="52"/>
                      </a:cubicBezTo>
                      <a:cubicBezTo>
                        <a:pt x="302" y="52"/>
                        <a:pt x="94" y="260"/>
                        <a:pt x="94" y="516"/>
                      </a:cubicBezTo>
                      <a:cubicBezTo>
                        <a:pt x="54" y="1067"/>
                        <a:pt x="54" y="1067"/>
                        <a:pt x="54" y="1067"/>
                      </a:cubicBezTo>
                      <a:cubicBezTo>
                        <a:pt x="396" y="1248"/>
                        <a:pt x="396" y="1248"/>
                        <a:pt x="396" y="1248"/>
                      </a:cubicBezTo>
                      <a:cubicBezTo>
                        <a:pt x="370" y="1294"/>
                        <a:pt x="370" y="1294"/>
                        <a:pt x="370" y="1294"/>
                      </a:cubicBezTo>
                      <a:cubicBezTo>
                        <a:pt x="0" y="1096"/>
                        <a:pt x="0" y="1096"/>
                        <a:pt x="0" y="1096"/>
                      </a:cubicBezTo>
                      <a:cubicBezTo>
                        <a:pt x="42" y="514"/>
                        <a:pt x="42" y="514"/>
                        <a:pt x="42" y="514"/>
                      </a:cubicBezTo>
                      <a:cubicBezTo>
                        <a:pt x="42" y="231"/>
                        <a:pt x="273" y="0"/>
                        <a:pt x="558" y="0"/>
                      </a:cubicBezTo>
                      <a:cubicBezTo>
                        <a:pt x="843" y="0"/>
                        <a:pt x="1075" y="231"/>
                        <a:pt x="1075" y="516"/>
                      </a:cubicBezTo>
                      <a:cubicBezTo>
                        <a:pt x="1117" y="1096"/>
                        <a:pt x="1117" y="1096"/>
                        <a:pt x="1117" y="1096"/>
                      </a:cubicBezTo>
                      <a:lnTo>
                        <a:pt x="750" y="1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56">
                  <a:extLst>
                    <a:ext uri="{FF2B5EF4-FFF2-40B4-BE49-F238E27FC236}">
                      <a16:creationId xmlns:a16="http://schemas.microsoft.com/office/drawing/2014/main" id="{4ADFD942-3D34-4083-9C64-7FC22D51DBF0}"/>
                    </a:ext>
                  </a:extLst>
                </p:cNvPr>
                <p:cNvSpPr>
                  <a:spLocks/>
                </p:cNvSpPr>
                <p:nvPr/>
              </p:nvSpPr>
              <p:spPr bwMode="auto">
                <a:xfrm>
                  <a:off x="691" y="3488"/>
                  <a:ext cx="167" cy="150"/>
                </a:xfrm>
                <a:custGeom>
                  <a:avLst/>
                  <a:gdLst>
                    <a:gd name="T0" fmla="*/ 201 w 408"/>
                    <a:gd name="T1" fmla="*/ 365 h 368"/>
                    <a:gd name="T2" fmla="*/ 48 w 408"/>
                    <a:gd name="T3" fmla="*/ 306 h 368"/>
                    <a:gd name="T4" fmla="*/ 5 w 408"/>
                    <a:gd name="T5" fmla="*/ 162 h 368"/>
                    <a:gd name="T6" fmla="*/ 23 w 408"/>
                    <a:gd name="T7" fmla="*/ 0 h 368"/>
                    <a:gd name="T8" fmla="*/ 66 w 408"/>
                    <a:gd name="T9" fmla="*/ 5 h 368"/>
                    <a:gd name="T10" fmla="*/ 48 w 408"/>
                    <a:gd name="T11" fmla="*/ 166 h 368"/>
                    <a:gd name="T12" fmla="*/ 79 w 408"/>
                    <a:gd name="T13" fmla="*/ 276 h 368"/>
                    <a:gd name="T14" fmla="*/ 204 w 408"/>
                    <a:gd name="T15" fmla="*/ 322 h 368"/>
                    <a:gd name="T16" fmla="*/ 329 w 408"/>
                    <a:gd name="T17" fmla="*/ 276 h 368"/>
                    <a:gd name="T18" fmla="*/ 361 w 408"/>
                    <a:gd name="T19" fmla="*/ 165 h 368"/>
                    <a:gd name="T20" fmla="*/ 342 w 408"/>
                    <a:gd name="T21" fmla="*/ 5 h 368"/>
                    <a:gd name="T22" fmla="*/ 385 w 408"/>
                    <a:gd name="T23" fmla="*/ 0 h 368"/>
                    <a:gd name="T24" fmla="*/ 403 w 408"/>
                    <a:gd name="T25" fmla="*/ 161 h 368"/>
                    <a:gd name="T26" fmla="*/ 360 w 408"/>
                    <a:gd name="T27" fmla="*/ 306 h 368"/>
                    <a:gd name="T28" fmla="*/ 204 w 408"/>
                    <a:gd name="T29" fmla="*/ 365 h 368"/>
                    <a:gd name="T30" fmla="*/ 201 w 408"/>
                    <a:gd name="T31" fmla="*/ 36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68">
                      <a:moveTo>
                        <a:pt x="201" y="365"/>
                      </a:moveTo>
                      <a:cubicBezTo>
                        <a:pt x="184" y="365"/>
                        <a:pt x="101" y="362"/>
                        <a:pt x="48" y="306"/>
                      </a:cubicBezTo>
                      <a:cubicBezTo>
                        <a:pt x="14" y="270"/>
                        <a:pt x="0" y="222"/>
                        <a:pt x="5" y="162"/>
                      </a:cubicBezTo>
                      <a:cubicBezTo>
                        <a:pt x="23" y="0"/>
                        <a:pt x="23" y="0"/>
                        <a:pt x="23" y="0"/>
                      </a:cubicBezTo>
                      <a:cubicBezTo>
                        <a:pt x="66" y="5"/>
                        <a:pt x="66" y="5"/>
                        <a:pt x="66" y="5"/>
                      </a:cubicBezTo>
                      <a:cubicBezTo>
                        <a:pt x="48" y="166"/>
                        <a:pt x="48" y="166"/>
                        <a:pt x="48" y="166"/>
                      </a:cubicBezTo>
                      <a:cubicBezTo>
                        <a:pt x="44" y="213"/>
                        <a:pt x="54" y="250"/>
                        <a:pt x="79" y="276"/>
                      </a:cubicBezTo>
                      <a:cubicBezTo>
                        <a:pt x="125" y="324"/>
                        <a:pt x="203" y="322"/>
                        <a:pt x="204" y="322"/>
                      </a:cubicBezTo>
                      <a:cubicBezTo>
                        <a:pt x="206" y="322"/>
                        <a:pt x="284" y="324"/>
                        <a:pt x="329" y="276"/>
                      </a:cubicBezTo>
                      <a:cubicBezTo>
                        <a:pt x="354" y="250"/>
                        <a:pt x="364" y="213"/>
                        <a:pt x="361" y="165"/>
                      </a:cubicBezTo>
                      <a:cubicBezTo>
                        <a:pt x="342" y="5"/>
                        <a:pt x="342" y="5"/>
                        <a:pt x="342" y="5"/>
                      </a:cubicBezTo>
                      <a:cubicBezTo>
                        <a:pt x="385" y="0"/>
                        <a:pt x="385" y="0"/>
                        <a:pt x="385" y="0"/>
                      </a:cubicBezTo>
                      <a:cubicBezTo>
                        <a:pt x="403" y="161"/>
                        <a:pt x="403" y="161"/>
                        <a:pt x="403" y="161"/>
                      </a:cubicBezTo>
                      <a:cubicBezTo>
                        <a:pt x="408" y="222"/>
                        <a:pt x="394" y="271"/>
                        <a:pt x="360" y="306"/>
                      </a:cubicBezTo>
                      <a:cubicBezTo>
                        <a:pt x="301" y="368"/>
                        <a:pt x="208" y="365"/>
                        <a:pt x="204" y="365"/>
                      </a:cubicBezTo>
                      <a:cubicBezTo>
                        <a:pt x="203" y="365"/>
                        <a:pt x="202" y="365"/>
                        <a:pt x="20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57">
                  <a:extLst>
                    <a:ext uri="{FF2B5EF4-FFF2-40B4-BE49-F238E27FC236}">
                      <a16:creationId xmlns:a16="http://schemas.microsoft.com/office/drawing/2014/main" id="{A62178FC-5C2C-452A-9313-6B513F3E1BF8}"/>
                    </a:ext>
                  </a:extLst>
                </p:cNvPr>
                <p:cNvSpPr>
                  <a:spLocks/>
                </p:cNvSpPr>
                <p:nvPr/>
              </p:nvSpPr>
              <p:spPr bwMode="auto">
                <a:xfrm>
                  <a:off x="429" y="3576"/>
                  <a:ext cx="274" cy="361"/>
                </a:xfrm>
                <a:custGeom>
                  <a:avLst/>
                  <a:gdLst>
                    <a:gd name="T0" fmla="*/ 42 w 669"/>
                    <a:gd name="T1" fmla="*/ 885 h 885"/>
                    <a:gd name="T2" fmla="*/ 0 w 669"/>
                    <a:gd name="T3" fmla="*/ 885 h 885"/>
                    <a:gd name="T4" fmla="*/ 657 w 669"/>
                    <a:gd name="T5" fmla="*/ 0 h 885"/>
                    <a:gd name="T6" fmla="*/ 669 w 669"/>
                    <a:gd name="T7" fmla="*/ 46 h 885"/>
                    <a:gd name="T8" fmla="*/ 42 w 669"/>
                    <a:gd name="T9" fmla="*/ 885 h 885"/>
                  </a:gdLst>
                  <a:ahLst/>
                  <a:cxnLst>
                    <a:cxn ang="0">
                      <a:pos x="T0" y="T1"/>
                    </a:cxn>
                    <a:cxn ang="0">
                      <a:pos x="T2" y="T3"/>
                    </a:cxn>
                    <a:cxn ang="0">
                      <a:pos x="T4" y="T5"/>
                    </a:cxn>
                    <a:cxn ang="0">
                      <a:pos x="T6" y="T7"/>
                    </a:cxn>
                    <a:cxn ang="0">
                      <a:pos x="T8" y="T9"/>
                    </a:cxn>
                  </a:cxnLst>
                  <a:rect l="0" t="0" r="r" b="b"/>
                  <a:pathLst>
                    <a:path w="669" h="885">
                      <a:moveTo>
                        <a:pt x="42" y="885"/>
                      </a:moveTo>
                      <a:cubicBezTo>
                        <a:pt x="0" y="885"/>
                        <a:pt x="0" y="885"/>
                        <a:pt x="0" y="885"/>
                      </a:cubicBezTo>
                      <a:cubicBezTo>
                        <a:pt x="71" y="481"/>
                        <a:pt x="357" y="94"/>
                        <a:pt x="657" y="0"/>
                      </a:cubicBezTo>
                      <a:cubicBezTo>
                        <a:pt x="669" y="46"/>
                        <a:pt x="669" y="46"/>
                        <a:pt x="669" y="46"/>
                      </a:cubicBezTo>
                      <a:cubicBezTo>
                        <a:pt x="384" y="136"/>
                        <a:pt x="110" y="499"/>
                        <a:pt x="42" y="8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58">
                  <a:extLst>
                    <a:ext uri="{FF2B5EF4-FFF2-40B4-BE49-F238E27FC236}">
                      <a16:creationId xmlns:a16="http://schemas.microsoft.com/office/drawing/2014/main" id="{9BFBEF52-7BCB-4C8D-8049-D955833497B3}"/>
                    </a:ext>
                  </a:extLst>
                </p:cNvPr>
                <p:cNvSpPr>
                  <a:spLocks/>
                </p:cNvSpPr>
                <p:nvPr/>
              </p:nvSpPr>
              <p:spPr bwMode="auto">
                <a:xfrm>
                  <a:off x="842" y="3575"/>
                  <a:ext cx="277" cy="362"/>
                </a:xfrm>
                <a:custGeom>
                  <a:avLst/>
                  <a:gdLst>
                    <a:gd name="T0" fmla="*/ 635 w 677"/>
                    <a:gd name="T1" fmla="*/ 888 h 888"/>
                    <a:gd name="T2" fmla="*/ 0 w 677"/>
                    <a:gd name="T3" fmla="*/ 46 h 888"/>
                    <a:gd name="T4" fmla="*/ 11 w 677"/>
                    <a:gd name="T5" fmla="*/ 0 h 888"/>
                    <a:gd name="T6" fmla="*/ 677 w 677"/>
                    <a:gd name="T7" fmla="*/ 888 h 888"/>
                    <a:gd name="T8" fmla="*/ 635 w 677"/>
                    <a:gd name="T9" fmla="*/ 888 h 888"/>
                  </a:gdLst>
                  <a:ahLst/>
                  <a:cxnLst>
                    <a:cxn ang="0">
                      <a:pos x="T0" y="T1"/>
                    </a:cxn>
                    <a:cxn ang="0">
                      <a:pos x="T2" y="T3"/>
                    </a:cxn>
                    <a:cxn ang="0">
                      <a:pos x="T4" y="T5"/>
                    </a:cxn>
                    <a:cxn ang="0">
                      <a:pos x="T6" y="T7"/>
                    </a:cxn>
                    <a:cxn ang="0">
                      <a:pos x="T8" y="T9"/>
                    </a:cxn>
                  </a:cxnLst>
                  <a:rect l="0" t="0" r="r" b="b"/>
                  <a:pathLst>
                    <a:path w="677" h="888">
                      <a:moveTo>
                        <a:pt x="635" y="888"/>
                      </a:moveTo>
                      <a:cubicBezTo>
                        <a:pt x="566" y="496"/>
                        <a:pt x="290" y="132"/>
                        <a:pt x="0" y="46"/>
                      </a:cubicBezTo>
                      <a:cubicBezTo>
                        <a:pt x="11" y="0"/>
                        <a:pt x="11" y="0"/>
                        <a:pt x="11" y="0"/>
                      </a:cubicBezTo>
                      <a:cubicBezTo>
                        <a:pt x="316" y="90"/>
                        <a:pt x="605" y="479"/>
                        <a:pt x="677" y="888"/>
                      </a:cubicBezTo>
                      <a:lnTo>
                        <a:pt x="635"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83" name="Oval 82">
                <a:extLst>
                  <a:ext uri="{FF2B5EF4-FFF2-40B4-BE49-F238E27FC236}">
                    <a16:creationId xmlns:a16="http://schemas.microsoft.com/office/drawing/2014/main" id="{C5F69F6F-8A65-437E-A794-56872B7412E7}"/>
                  </a:ext>
                </a:extLst>
              </p:cNvPr>
              <p:cNvSpPr/>
              <p:nvPr/>
            </p:nvSpPr>
            <p:spPr>
              <a:xfrm>
                <a:off x="8282940" y="3957978"/>
                <a:ext cx="422284" cy="49304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84" name="Group 83">
                <a:extLst>
                  <a:ext uri="{FF2B5EF4-FFF2-40B4-BE49-F238E27FC236}">
                    <a16:creationId xmlns:a16="http://schemas.microsoft.com/office/drawing/2014/main" id="{CDBA5CB7-00FB-4A46-8432-CA4E807E1D5B}"/>
                  </a:ext>
                </a:extLst>
              </p:cNvPr>
              <p:cNvGrpSpPr>
                <a:grpSpLocks noChangeAspect="1"/>
              </p:cNvGrpSpPr>
              <p:nvPr/>
            </p:nvGrpSpPr>
            <p:grpSpPr>
              <a:xfrm>
                <a:off x="7917463" y="3951197"/>
                <a:ext cx="822013" cy="695852"/>
                <a:chOff x="2830513" y="4926013"/>
                <a:chExt cx="1323975" cy="1120775"/>
              </a:xfrm>
              <a:solidFill>
                <a:schemeClr val="accent2"/>
              </a:solidFill>
            </p:grpSpPr>
            <p:sp>
              <p:nvSpPr>
                <p:cNvPr id="85" name="Freeform 66">
                  <a:extLst>
                    <a:ext uri="{FF2B5EF4-FFF2-40B4-BE49-F238E27FC236}">
                      <a16:creationId xmlns:a16="http://schemas.microsoft.com/office/drawing/2014/main" id="{F732766D-B431-473B-B82C-1F99AC0145F5}"/>
                    </a:ext>
                  </a:extLst>
                </p:cNvPr>
                <p:cNvSpPr>
                  <a:spLocks/>
                </p:cNvSpPr>
                <p:nvPr/>
              </p:nvSpPr>
              <p:spPr bwMode="auto">
                <a:xfrm>
                  <a:off x="2862263" y="4926013"/>
                  <a:ext cx="1263650" cy="561975"/>
                </a:xfrm>
                <a:custGeom>
                  <a:avLst/>
                  <a:gdLst>
                    <a:gd name="T0" fmla="*/ 48 w 796"/>
                    <a:gd name="T1" fmla="*/ 352 h 354"/>
                    <a:gd name="T2" fmla="*/ 34 w 796"/>
                    <a:gd name="T3" fmla="*/ 334 h 354"/>
                    <a:gd name="T4" fmla="*/ 8 w 796"/>
                    <a:gd name="T5" fmla="*/ 280 h 354"/>
                    <a:gd name="T6" fmla="*/ 0 w 796"/>
                    <a:gd name="T7" fmla="*/ 222 h 354"/>
                    <a:gd name="T8" fmla="*/ 6 w 796"/>
                    <a:gd name="T9" fmla="*/ 166 h 354"/>
                    <a:gd name="T10" fmla="*/ 28 w 796"/>
                    <a:gd name="T11" fmla="*/ 112 h 354"/>
                    <a:gd name="T12" fmla="*/ 64 w 796"/>
                    <a:gd name="T13" fmla="*/ 64 h 354"/>
                    <a:gd name="T14" fmla="*/ 98 w 796"/>
                    <a:gd name="T15" fmla="*/ 36 h 354"/>
                    <a:gd name="T16" fmla="*/ 154 w 796"/>
                    <a:gd name="T17" fmla="*/ 8 h 354"/>
                    <a:gd name="T18" fmla="*/ 218 w 796"/>
                    <a:gd name="T19" fmla="*/ 0 h 354"/>
                    <a:gd name="T20" fmla="*/ 262 w 796"/>
                    <a:gd name="T21" fmla="*/ 4 h 354"/>
                    <a:gd name="T22" fmla="*/ 322 w 796"/>
                    <a:gd name="T23" fmla="*/ 24 h 354"/>
                    <a:gd name="T24" fmla="*/ 372 w 796"/>
                    <a:gd name="T25" fmla="*/ 64 h 354"/>
                    <a:gd name="T26" fmla="*/ 398 w 796"/>
                    <a:gd name="T27" fmla="*/ 94 h 354"/>
                    <a:gd name="T28" fmla="*/ 422 w 796"/>
                    <a:gd name="T29" fmla="*/ 64 h 354"/>
                    <a:gd name="T30" fmla="*/ 456 w 796"/>
                    <a:gd name="T31" fmla="*/ 36 h 354"/>
                    <a:gd name="T32" fmla="*/ 514 w 796"/>
                    <a:gd name="T33" fmla="*/ 8 h 354"/>
                    <a:gd name="T34" fmla="*/ 576 w 796"/>
                    <a:gd name="T35" fmla="*/ 0 h 354"/>
                    <a:gd name="T36" fmla="*/ 638 w 796"/>
                    <a:gd name="T37" fmla="*/ 8 h 354"/>
                    <a:gd name="T38" fmla="*/ 696 w 796"/>
                    <a:gd name="T39" fmla="*/ 36 h 354"/>
                    <a:gd name="T40" fmla="*/ 730 w 796"/>
                    <a:gd name="T41" fmla="*/ 64 h 354"/>
                    <a:gd name="T42" fmla="*/ 766 w 796"/>
                    <a:gd name="T43" fmla="*/ 110 h 354"/>
                    <a:gd name="T44" fmla="*/ 788 w 796"/>
                    <a:gd name="T45" fmla="*/ 162 h 354"/>
                    <a:gd name="T46" fmla="*/ 796 w 796"/>
                    <a:gd name="T47" fmla="*/ 218 h 354"/>
                    <a:gd name="T48" fmla="*/ 788 w 796"/>
                    <a:gd name="T49" fmla="*/ 276 h 354"/>
                    <a:gd name="T50" fmla="*/ 764 w 796"/>
                    <a:gd name="T51" fmla="*/ 328 h 354"/>
                    <a:gd name="T52" fmla="*/ 752 w 796"/>
                    <a:gd name="T53" fmla="*/ 348 h 354"/>
                    <a:gd name="T54" fmla="*/ 742 w 796"/>
                    <a:gd name="T55" fmla="*/ 348 h 354"/>
                    <a:gd name="T56" fmla="*/ 738 w 796"/>
                    <a:gd name="T57" fmla="*/ 342 h 354"/>
                    <a:gd name="T58" fmla="*/ 740 w 796"/>
                    <a:gd name="T59" fmla="*/ 334 h 354"/>
                    <a:gd name="T60" fmla="*/ 764 w 796"/>
                    <a:gd name="T61" fmla="*/ 288 h 354"/>
                    <a:gd name="T62" fmla="*/ 776 w 796"/>
                    <a:gd name="T63" fmla="*/ 236 h 354"/>
                    <a:gd name="T64" fmla="*/ 774 w 796"/>
                    <a:gd name="T65" fmla="*/ 184 h 354"/>
                    <a:gd name="T66" fmla="*/ 758 w 796"/>
                    <a:gd name="T67" fmla="*/ 134 h 354"/>
                    <a:gd name="T68" fmla="*/ 730 w 796"/>
                    <a:gd name="T69" fmla="*/ 90 h 354"/>
                    <a:gd name="T70" fmla="*/ 702 w 796"/>
                    <a:gd name="T71" fmla="*/ 62 h 354"/>
                    <a:gd name="T72" fmla="*/ 652 w 796"/>
                    <a:gd name="T73" fmla="*/ 32 h 354"/>
                    <a:gd name="T74" fmla="*/ 596 w 796"/>
                    <a:gd name="T75" fmla="*/ 18 h 354"/>
                    <a:gd name="T76" fmla="*/ 538 w 796"/>
                    <a:gd name="T77" fmla="*/ 22 h 354"/>
                    <a:gd name="T78" fmla="*/ 484 w 796"/>
                    <a:gd name="T79" fmla="*/ 40 h 354"/>
                    <a:gd name="T80" fmla="*/ 434 w 796"/>
                    <a:gd name="T81" fmla="*/ 76 h 354"/>
                    <a:gd name="T82" fmla="*/ 406 w 796"/>
                    <a:gd name="T83" fmla="*/ 114 h 354"/>
                    <a:gd name="T84" fmla="*/ 390 w 796"/>
                    <a:gd name="T85" fmla="*/ 114 h 354"/>
                    <a:gd name="T86" fmla="*/ 360 w 796"/>
                    <a:gd name="T87" fmla="*/ 76 h 354"/>
                    <a:gd name="T88" fmla="*/ 312 w 796"/>
                    <a:gd name="T89" fmla="*/ 40 h 354"/>
                    <a:gd name="T90" fmla="*/ 258 w 796"/>
                    <a:gd name="T91" fmla="*/ 22 h 354"/>
                    <a:gd name="T92" fmla="*/ 218 w 796"/>
                    <a:gd name="T93" fmla="*/ 18 h 354"/>
                    <a:gd name="T94" fmla="*/ 160 w 796"/>
                    <a:gd name="T95" fmla="*/ 26 h 354"/>
                    <a:gd name="T96" fmla="*/ 108 w 796"/>
                    <a:gd name="T97" fmla="*/ 50 h 354"/>
                    <a:gd name="T98" fmla="*/ 76 w 796"/>
                    <a:gd name="T99" fmla="*/ 76 h 354"/>
                    <a:gd name="T100" fmla="*/ 44 w 796"/>
                    <a:gd name="T101" fmla="*/ 120 h 354"/>
                    <a:gd name="T102" fmla="*/ 24 w 796"/>
                    <a:gd name="T103" fmla="*/ 170 h 354"/>
                    <a:gd name="T104" fmla="*/ 18 w 796"/>
                    <a:gd name="T105" fmla="*/ 222 h 354"/>
                    <a:gd name="T106" fmla="*/ 26 w 796"/>
                    <a:gd name="T107" fmla="*/ 274 h 354"/>
                    <a:gd name="T108" fmla="*/ 48 w 796"/>
                    <a:gd name="T109" fmla="*/ 324 h 354"/>
                    <a:gd name="T110" fmla="*/ 60 w 796"/>
                    <a:gd name="T111" fmla="*/ 342 h 354"/>
                    <a:gd name="T112" fmla="*/ 58 w 796"/>
                    <a:gd name="T113" fmla="*/ 352 h 354"/>
                    <a:gd name="T114" fmla="*/ 52 w 796"/>
                    <a:gd name="T11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6" h="354">
                      <a:moveTo>
                        <a:pt x="52" y="354"/>
                      </a:moveTo>
                      <a:lnTo>
                        <a:pt x="52" y="354"/>
                      </a:lnTo>
                      <a:lnTo>
                        <a:pt x="48" y="352"/>
                      </a:lnTo>
                      <a:lnTo>
                        <a:pt x="44" y="350"/>
                      </a:lnTo>
                      <a:lnTo>
                        <a:pt x="44" y="350"/>
                      </a:lnTo>
                      <a:lnTo>
                        <a:pt x="34" y="334"/>
                      </a:lnTo>
                      <a:lnTo>
                        <a:pt x="24" y="316"/>
                      </a:lnTo>
                      <a:lnTo>
                        <a:pt x="16" y="298"/>
                      </a:lnTo>
                      <a:lnTo>
                        <a:pt x="8" y="280"/>
                      </a:lnTo>
                      <a:lnTo>
                        <a:pt x="4" y="260"/>
                      </a:lnTo>
                      <a:lnTo>
                        <a:pt x="2" y="242"/>
                      </a:lnTo>
                      <a:lnTo>
                        <a:pt x="0" y="222"/>
                      </a:lnTo>
                      <a:lnTo>
                        <a:pt x="0" y="204"/>
                      </a:lnTo>
                      <a:lnTo>
                        <a:pt x="2" y="184"/>
                      </a:lnTo>
                      <a:lnTo>
                        <a:pt x="6" y="166"/>
                      </a:lnTo>
                      <a:lnTo>
                        <a:pt x="12" y="146"/>
                      </a:lnTo>
                      <a:lnTo>
                        <a:pt x="18" y="128"/>
                      </a:lnTo>
                      <a:lnTo>
                        <a:pt x="28" y="112"/>
                      </a:lnTo>
                      <a:lnTo>
                        <a:pt x="38" y="94"/>
                      </a:lnTo>
                      <a:lnTo>
                        <a:pt x="50" y="78"/>
                      </a:lnTo>
                      <a:lnTo>
                        <a:pt x="64" y="64"/>
                      </a:lnTo>
                      <a:lnTo>
                        <a:pt x="64" y="64"/>
                      </a:lnTo>
                      <a:lnTo>
                        <a:pt x="80" y="48"/>
                      </a:lnTo>
                      <a:lnTo>
                        <a:pt x="98" y="36"/>
                      </a:lnTo>
                      <a:lnTo>
                        <a:pt x="116" y="24"/>
                      </a:lnTo>
                      <a:lnTo>
                        <a:pt x="134" y="16"/>
                      </a:lnTo>
                      <a:lnTo>
                        <a:pt x="154" y="8"/>
                      </a:lnTo>
                      <a:lnTo>
                        <a:pt x="176" y="4"/>
                      </a:lnTo>
                      <a:lnTo>
                        <a:pt x="196" y="0"/>
                      </a:lnTo>
                      <a:lnTo>
                        <a:pt x="218" y="0"/>
                      </a:lnTo>
                      <a:lnTo>
                        <a:pt x="218" y="0"/>
                      </a:lnTo>
                      <a:lnTo>
                        <a:pt x="240" y="0"/>
                      </a:lnTo>
                      <a:lnTo>
                        <a:pt x="262" y="4"/>
                      </a:lnTo>
                      <a:lnTo>
                        <a:pt x="282" y="8"/>
                      </a:lnTo>
                      <a:lnTo>
                        <a:pt x="302" y="16"/>
                      </a:lnTo>
                      <a:lnTo>
                        <a:pt x="322" y="24"/>
                      </a:lnTo>
                      <a:lnTo>
                        <a:pt x="340" y="36"/>
                      </a:lnTo>
                      <a:lnTo>
                        <a:pt x="356" y="48"/>
                      </a:lnTo>
                      <a:lnTo>
                        <a:pt x="372" y="64"/>
                      </a:lnTo>
                      <a:lnTo>
                        <a:pt x="372" y="64"/>
                      </a:lnTo>
                      <a:lnTo>
                        <a:pt x="386" y="78"/>
                      </a:lnTo>
                      <a:lnTo>
                        <a:pt x="398" y="94"/>
                      </a:lnTo>
                      <a:lnTo>
                        <a:pt x="398" y="94"/>
                      </a:lnTo>
                      <a:lnTo>
                        <a:pt x="410" y="78"/>
                      </a:lnTo>
                      <a:lnTo>
                        <a:pt x="422" y="64"/>
                      </a:lnTo>
                      <a:lnTo>
                        <a:pt x="422" y="64"/>
                      </a:lnTo>
                      <a:lnTo>
                        <a:pt x="438" y="48"/>
                      </a:lnTo>
                      <a:lnTo>
                        <a:pt x="456" y="36"/>
                      </a:lnTo>
                      <a:lnTo>
                        <a:pt x="474" y="24"/>
                      </a:lnTo>
                      <a:lnTo>
                        <a:pt x="494" y="16"/>
                      </a:lnTo>
                      <a:lnTo>
                        <a:pt x="514" y="8"/>
                      </a:lnTo>
                      <a:lnTo>
                        <a:pt x="534" y="4"/>
                      </a:lnTo>
                      <a:lnTo>
                        <a:pt x="556" y="0"/>
                      </a:lnTo>
                      <a:lnTo>
                        <a:pt x="576" y="0"/>
                      </a:lnTo>
                      <a:lnTo>
                        <a:pt x="598" y="0"/>
                      </a:lnTo>
                      <a:lnTo>
                        <a:pt x="618" y="4"/>
                      </a:lnTo>
                      <a:lnTo>
                        <a:pt x="638" y="8"/>
                      </a:lnTo>
                      <a:lnTo>
                        <a:pt x="658" y="16"/>
                      </a:lnTo>
                      <a:lnTo>
                        <a:pt x="678" y="24"/>
                      </a:lnTo>
                      <a:lnTo>
                        <a:pt x="696" y="36"/>
                      </a:lnTo>
                      <a:lnTo>
                        <a:pt x="714" y="48"/>
                      </a:lnTo>
                      <a:lnTo>
                        <a:pt x="730" y="64"/>
                      </a:lnTo>
                      <a:lnTo>
                        <a:pt x="730" y="64"/>
                      </a:lnTo>
                      <a:lnTo>
                        <a:pt x="744" y="78"/>
                      </a:lnTo>
                      <a:lnTo>
                        <a:pt x="756" y="94"/>
                      </a:lnTo>
                      <a:lnTo>
                        <a:pt x="766" y="110"/>
                      </a:lnTo>
                      <a:lnTo>
                        <a:pt x="776" y="128"/>
                      </a:lnTo>
                      <a:lnTo>
                        <a:pt x="782" y="144"/>
                      </a:lnTo>
                      <a:lnTo>
                        <a:pt x="788" y="162"/>
                      </a:lnTo>
                      <a:lnTo>
                        <a:pt x="792" y="182"/>
                      </a:lnTo>
                      <a:lnTo>
                        <a:pt x="794" y="200"/>
                      </a:lnTo>
                      <a:lnTo>
                        <a:pt x="796" y="218"/>
                      </a:lnTo>
                      <a:lnTo>
                        <a:pt x="794" y="238"/>
                      </a:lnTo>
                      <a:lnTo>
                        <a:pt x="792" y="256"/>
                      </a:lnTo>
                      <a:lnTo>
                        <a:pt x="788" y="276"/>
                      </a:lnTo>
                      <a:lnTo>
                        <a:pt x="782" y="294"/>
                      </a:lnTo>
                      <a:lnTo>
                        <a:pt x="774" y="312"/>
                      </a:lnTo>
                      <a:lnTo>
                        <a:pt x="764" y="328"/>
                      </a:lnTo>
                      <a:lnTo>
                        <a:pt x="754" y="346"/>
                      </a:lnTo>
                      <a:lnTo>
                        <a:pt x="754" y="346"/>
                      </a:lnTo>
                      <a:lnTo>
                        <a:pt x="752" y="348"/>
                      </a:lnTo>
                      <a:lnTo>
                        <a:pt x="748" y="348"/>
                      </a:lnTo>
                      <a:lnTo>
                        <a:pt x="744" y="348"/>
                      </a:lnTo>
                      <a:lnTo>
                        <a:pt x="742" y="348"/>
                      </a:lnTo>
                      <a:lnTo>
                        <a:pt x="742" y="348"/>
                      </a:lnTo>
                      <a:lnTo>
                        <a:pt x="738" y="344"/>
                      </a:lnTo>
                      <a:lnTo>
                        <a:pt x="738" y="342"/>
                      </a:lnTo>
                      <a:lnTo>
                        <a:pt x="738" y="338"/>
                      </a:lnTo>
                      <a:lnTo>
                        <a:pt x="740" y="334"/>
                      </a:lnTo>
                      <a:lnTo>
                        <a:pt x="740" y="334"/>
                      </a:lnTo>
                      <a:lnTo>
                        <a:pt x="750" y="320"/>
                      </a:lnTo>
                      <a:lnTo>
                        <a:pt x="758" y="304"/>
                      </a:lnTo>
                      <a:lnTo>
                        <a:pt x="764" y="288"/>
                      </a:lnTo>
                      <a:lnTo>
                        <a:pt x="770" y="270"/>
                      </a:lnTo>
                      <a:lnTo>
                        <a:pt x="774" y="254"/>
                      </a:lnTo>
                      <a:lnTo>
                        <a:pt x="776" y="236"/>
                      </a:lnTo>
                      <a:lnTo>
                        <a:pt x="778" y="218"/>
                      </a:lnTo>
                      <a:lnTo>
                        <a:pt x="776" y="202"/>
                      </a:lnTo>
                      <a:lnTo>
                        <a:pt x="774" y="184"/>
                      </a:lnTo>
                      <a:lnTo>
                        <a:pt x="770" y="168"/>
                      </a:lnTo>
                      <a:lnTo>
                        <a:pt x="766" y="150"/>
                      </a:lnTo>
                      <a:lnTo>
                        <a:pt x="758" y="134"/>
                      </a:lnTo>
                      <a:lnTo>
                        <a:pt x="750" y="118"/>
                      </a:lnTo>
                      <a:lnTo>
                        <a:pt x="742" y="104"/>
                      </a:lnTo>
                      <a:lnTo>
                        <a:pt x="730" y="90"/>
                      </a:lnTo>
                      <a:lnTo>
                        <a:pt x="718" y="76"/>
                      </a:lnTo>
                      <a:lnTo>
                        <a:pt x="718" y="76"/>
                      </a:lnTo>
                      <a:lnTo>
                        <a:pt x="702" y="62"/>
                      </a:lnTo>
                      <a:lnTo>
                        <a:pt x="686" y="50"/>
                      </a:lnTo>
                      <a:lnTo>
                        <a:pt x="670" y="40"/>
                      </a:lnTo>
                      <a:lnTo>
                        <a:pt x="652" y="32"/>
                      </a:lnTo>
                      <a:lnTo>
                        <a:pt x="634" y="26"/>
                      </a:lnTo>
                      <a:lnTo>
                        <a:pt x="614" y="22"/>
                      </a:lnTo>
                      <a:lnTo>
                        <a:pt x="596" y="18"/>
                      </a:lnTo>
                      <a:lnTo>
                        <a:pt x="576" y="18"/>
                      </a:lnTo>
                      <a:lnTo>
                        <a:pt x="558" y="18"/>
                      </a:lnTo>
                      <a:lnTo>
                        <a:pt x="538" y="22"/>
                      </a:lnTo>
                      <a:lnTo>
                        <a:pt x="520" y="26"/>
                      </a:lnTo>
                      <a:lnTo>
                        <a:pt x="502" y="32"/>
                      </a:lnTo>
                      <a:lnTo>
                        <a:pt x="484" y="40"/>
                      </a:lnTo>
                      <a:lnTo>
                        <a:pt x="466" y="50"/>
                      </a:lnTo>
                      <a:lnTo>
                        <a:pt x="450" y="62"/>
                      </a:lnTo>
                      <a:lnTo>
                        <a:pt x="434" y="76"/>
                      </a:lnTo>
                      <a:lnTo>
                        <a:pt x="434" y="76"/>
                      </a:lnTo>
                      <a:lnTo>
                        <a:pt x="418" y="94"/>
                      </a:lnTo>
                      <a:lnTo>
                        <a:pt x="406" y="114"/>
                      </a:lnTo>
                      <a:lnTo>
                        <a:pt x="398" y="128"/>
                      </a:lnTo>
                      <a:lnTo>
                        <a:pt x="390" y="114"/>
                      </a:lnTo>
                      <a:lnTo>
                        <a:pt x="390" y="114"/>
                      </a:lnTo>
                      <a:lnTo>
                        <a:pt x="376" y="94"/>
                      </a:lnTo>
                      <a:lnTo>
                        <a:pt x="360" y="76"/>
                      </a:lnTo>
                      <a:lnTo>
                        <a:pt x="360" y="76"/>
                      </a:lnTo>
                      <a:lnTo>
                        <a:pt x="346" y="62"/>
                      </a:lnTo>
                      <a:lnTo>
                        <a:pt x="330" y="50"/>
                      </a:lnTo>
                      <a:lnTo>
                        <a:pt x="312" y="40"/>
                      </a:lnTo>
                      <a:lnTo>
                        <a:pt x="294" y="32"/>
                      </a:lnTo>
                      <a:lnTo>
                        <a:pt x="276" y="26"/>
                      </a:lnTo>
                      <a:lnTo>
                        <a:pt x="258" y="22"/>
                      </a:lnTo>
                      <a:lnTo>
                        <a:pt x="238" y="18"/>
                      </a:lnTo>
                      <a:lnTo>
                        <a:pt x="218" y="18"/>
                      </a:lnTo>
                      <a:lnTo>
                        <a:pt x="218" y="18"/>
                      </a:lnTo>
                      <a:lnTo>
                        <a:pt x="198" y="18"/>
                      </a:lnTo>
                      <a:lnTo>
                        <a:pt x="178" y="22"/>
                      </a:lnTo>
                      <a:lnTo>
                        <a:pt x="160" y="26"/>
                      </a:lnTo>
                      <a:lnTo>
                        <a:pt x="142" y="32"/>
                      </a:lnTo>
                      <a:lnTo>
                        <a:pt x="124" y="40"/>
                      </a:lnTo>
                      <a:lnTo>
                        <a:pt x="108" y="50"/>
                      </a:lnTo>
                      <a:lnTo>
                        <a:pt x="92" y="62"/>
                      </a:lnTo>
                      <a:lnTo>
                        <a:pt x="76" y="76"/>
                      </a:lnTo>
                      <a:lnTo>
                        <a:pt x="76" y="76"/>
                      </a:lnTo>
                      <a:lnTo>
                        <a:pt x="64" y="90"/>
                      </a:lnTo>
                      <a:lnTo>
                        <a:pt x="52" y="104"/>
                      </a:lnTo>
                      <a:lnTo>
                        <a:pt x="44" y="120"/>
                      </a:lnTo>
                      <a:lnTo>
                        <a:pt x="36" y="136"/>
                      </a:lnTo>
                      <a:lnTo>
                        <a:pt x="28" y="152"/>
                      </a:lnTo>
                      <a:lnTo>
                        <a:pt x="24" y="170"/>
                      </a:lnTo>
                      <a:lnTo>
                        <a:pt x="20" y="186"/>
                      </a:lnTo>
                      <a:lnTo>
                        <a:pt x="18" y="204"/>
                      </a:lnTo>
                      <a:lnTo>
                        <a:pt x="18" y="222"/>
                      </a:lnTo>
                      <a:lnTo>
                        <a:pt x="20" y="240"/>
                      </a:lnTo>
                      <a:lnTo>
                        <a:pt x="22" y="258"/>
                      </a:lnTo>
                      <a:lnTo>
                        <a:pt x="26" y="274"/>
                      </a:lnTo>
                      <a:lnTo>
                        <a:pt x="32" y="292"/>
                      </a:lnTo>
                      <a:lnTo>
                        <a:pt x="40" y="308"/>
                      </a:lnTo>
                      <a:lnTo>
                        <a:pt x="48" y="324"/>
                      </a:lnTo>
                      <a:lnTo>
                        <a:pt x="58" y="340"/>
                      </a:lnTo>
                      <a:lnTo>
                        <a:pt x="58" y="340"/>
                      </a:lnTo>
                      <a:lnTo>
                        <a:pt x="60" y="342"/>
                      </a:lnTo>
                      <a:lnTo>
                        <a:pt x="60" y="346"/>
                      </a:lnTo>
                      <a:lnTo>
                        <a:pt x="60" y="350"/>
                      </a:lnTo>
                      <a:lnTo>
                        <a:pt x="58" y="352"/>
                      </a:lnTo>
                      <a:lnTo>
                        <a:pt x="58" y="352"/>
                      </a:lnTo>
                      <a:lnTo>
                        <a:pt x="52" y="354"/>
                      </a:lnTo>
                      <a:lnTo>
                        <a:pt x="52" y="35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a:p>
              </p:txBody>
            </p:sp>
            <p:sp>
              <p:nvSpPr>
                <p:cNvPr id="86" name="Freeform 67">
                  <a:extLst>
                    <a:ext uri="{FF2B5EF4-FFF2-40B4-BE49-F238E27FC236}">
                      <a16:creationId xmlns:a16="http://schemas.microsoft.com/office/drawing/2014/main" id="{97E3126F-3731-4DCA-A9EA-DD46F6441395}"/>
                    </a:ext>
                  </a:extLst>
                </p:cNvPr>
                <p:cNvSpPr>
                  <a:spLocks/>
                </p:cNvSpPr>
                <p:nvPr/>
              </p:nvSpPr>
              <p:spPr bwMode="auto">
                <a:xfrm>
                  <a:off x="3005138" y="5538788"/>
                  <a:ext cx="971550" cy="508000"/>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a:p>
              </p:txBody>
            </p:sp>
            <p:sp>
              <p:nvSpPr>
                <p:cNvPr id="87" name="Freeform 68">
                  <a:extLst>
                    <a:ext uri="{FF2B5EF4-FFF2-40B4-BE49-F238E27FC236}">
                      <a16:creationId xmlns:a16="http://schemas.microsoft.com/office/drawing/2014/main" id="{85780633-C02B-40EC-AE7A-9B298B907639}"/>
                    </a:ext>
                  </a:extLst>
                </p:cNvPr>
                <p:cNvSpPr>
                  <a:spLocks/>
                </p:cNvSpPr>
                <p:nvPr/>
              </p:nvSpPr>
              <p:spPr bwMode="auto">
                <a:xfrm>
                  <a:off x="2830513" y="5246688"/>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IN"/>
                </a:p>
              </p:txBody>
            </p:sp>
          </p:grpSp>
        </p:grpSp>
      </p:grpSp>
      <p:grpSp>
        <p:nvGrpSpPr>
          <p:cNvPr id="94" name="Group 93">
            <a:extLst>
              <a:ext uri="{FF2B5EF4-FFF2-40B4-BE49-F238E27FC236}">
                <a16:creationId xmlns:a16="http://schemas.microsoft.com/office/drawing/2014/main" id="{3BD92F43-3A40-489F-9231-C4372B85B1CF}"/>
              </a:ext>
            </a:extLst>
          </p:cNvPr>
          <p:cNvGrpSpPr>
            <a:grpSpLocks noChangeAspect="1"/>
          </p:cNvGrpSpPr>
          <p:nvPr/>
        </p:nvGrpSpPr>
        <p:grpSpPr>
          <a:xfrm>
            <a:off x="829522" y="2431771"/>
            <a:ext cx="588630" cy="855245"/>
            <a:chOff x="7229336" y="3011905"/>
            <a:chExt cx="1296680" cy="1884001"/>
          </a:xfrm>
        </p:grpSpPr>
        <p:grpSp>
          <p:nvGrpSpPr>
            <p:cNvPr id="96" name="Group 95">
              <a:extLst>
                <a:ext uri="{FF2B5EF4-FFF2-40B4-BE49-F238E27FC236}">
                  <a16:creationId xmlns:a16="http://schemas.microsoft.com/office/drawing/2014/main" id="{95F58542-A083-441A-B8FF-1363CDE4D8DA}"/>
                </a:ext>
              </a:extLst>
            </p:cNvPr>
            <p:cNvGrpSpPr>
              <a:grpSpLocks noChangeAspect="1"/>
            </p:cNvGrpSpPr>
            <p:nvPr/>
          </p:nvGrpSpPr>
          <p:grpSpPr>
            <a:xfrm>
              <a:off x="7229336" y="3011905"/>
              <a:ext cx="1296680" cy="1440000"/>
              <a:chOff x="6278563" y="1503363"/>
              <a:chExt cx="603249" cy="669925"/>
            </a:xfrm>
            <a:solidFill>
              <a:schemeClr val="bg2"/>
            </a:solidFill>
          </p:grpSpPr>
          <p:sp>
            <p:nvSpPr>
              <p:cNvPr id="106" name="Freeform 31">
                <a:extLst>
                  <a:ext uri="{FF2B5EF4-FFF2-40B4-BE49-F238E27FC236}">
                    <a16:creationId xmlns:a16="http://schemas.microsoft.com/office/drawing/2014/main" id="{10307288-7B79-4BBB-86EE-7A2C5680693B}"/>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32">
                <a:extLst>
                  <a:ext uri="{FF2B5EF4-FFF2-40B4-BE49-F238E27FC236}">
                    <a16:creationId xmlns:a16="http://schemas.microsoft.com/office/drawing/2014/main" id="{B70E9828-4D98-42D4-8CAC-4E923C373441}"/>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33">
                <a:extLst>
                  <a:ext uri="{FF2B5EF4-FFF2-40B4-BE49-F238E27FC236}">
                    <a16:creationId xmlns:a16="http://schemas.microsoft.com/office/drawing/2014/main" id="{F593F8F5-A300-4A85-BA45-0AA6F298C01A}"/>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34">
                <a:extLst>
                  <a:ext uri="{FF2B5EF4-FFF2-40B4-BE49-F238E27FC236}">
                    <a16:creationId xmlns:a16="http://schemas.microsoft.com/office/drawing/2014/main" id="{18BD09F7-3316-4E5C-B09D-5F79EA601240}"/>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35">
                <a:extLst>
                  <a:ext uri="{FF2B5EF4-FFF2-40B4-BE49-F238E27FC236}">
                    <a16:creationId xmlns:a16="http://schemas.microsoft.com/office/drawing/2014/main" id="{18F88CE2-E503-442E-9726-1988116FE5E9}"/>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36">
                <a:extLst>
                  <a:ext uri="{FF2B5EF4-FFF2-40B4-BE49-F238E27FC236}">
                    <a16:creationId xmlns:a16="http://schemas.microsoft.com/office/drawing/2014/main" id="{B8FE4749-D616-4A6F-BB7A-3D7A13B0CA7C}"/>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97" name="Group 36">
              <a:extLst>
                <a:ext uri="{FF2B5EF4-FFF2-40B4-BE49-F238E27FC236}">
                  <a16:creationId xmlns:a16="http://schemas.microsoft.com/office/drawing/2014/main" id="{3975C385-4724-4CA5-A8C8-D0A8D0A035D4}"/>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00" name="Freeform 37">
                <a:extLst>
                  <a:ext uri="{FF2B5EF4-FFF2-40B4-BE49-F238E27FC236}">
                    <a16:creationId xmlns:a16="http://schemas.microsoft.com/office/drawing/2014/main" id="{E6A16949-DAF5-4661-BCF6-6E3BB5E8CC4F}"/>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38">
                <a:extLst>
                  <a:ext uri="{FF2B5EF4-FFF2-40B4-BE49-F238E27FC236}">
                    <a16:creationId xmlns:a16="http://schemas.microsoft.com/office/drawing/2014/main" id="{092DDE6D-0AA6-4E90-8C3F-D7D0A4A4928C}"/>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39">
                <a:extLst>
                  <a:ext uri="{FF2B5EF4-FFF2-40B4-BE49-F238E27FC236}">
                    <a16:creationId xmlns:a16="http://schemas.microsoft.com/office/drawing/2014/main" id="{AC1665E6-48E8-4169-AFF1-68881AE4A2CE}"/>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40">
                <a:extLst>
                  <a:ext uri="{FF2B5EF4-FFF2-40B4-BE49-F238E27FC236}">
                    <a16:creationId xmlns:a16="http://schemas.microsoft.com/office/drawing/2014/main" id="{72447551-F14E-4220-8172-F31819BD20F8}"/>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41">
                <a:extLst>
                  <a:ext uri="{FF2B5EF4-FFF2-40B4-BE49-F238E27FC236}">
                    <a16:creationId xmlns:a16="http://schemas.microsoft.com/office/drawing/2014/main" id="{5F6CC055-3584-46F3-9960-D6358703BB95}"/>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42">
                <a:extLst>
                  <a:ext uri="{FF2B5EF4-FFF2-40B4-BE49-F238E27FC236}">
                    <a16:creationId xmlns:a16="http://schemas.microsoft.com/office/drawing/2014/main" id="{6BC0A9A0-37BE-49B5-BD3B-F0055471B21E}"/>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8" name="Rectangle 97">
              <a:extLst>
                <a:ext uri="{FF2B5EF4-FFF2-40B4-BE49-F238E27FC236}">
                  <a16:creationId xmlns:a16="http://schemas.microsoft.com/office/drawing/2014/main" id="{328EF30D-CFC6-4C13-A108-310C5B5AF8E9}"/>
                </a:ext>
              </a:extLst>
            </p:cNvPr>
            <p:cNvSpPr/>
            <p:nvPr/>
          </p:nvSpPr>
          <p:spPr>
            <a:xfrm>
              <a:off x="7758008" y="3855545"/>
              <a:ext cx="247000" cy="725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9" name="Freeform 32">
              <a:extLst>
                <a:ext uri="{FF2B5EF4-FFF2-40B4-BE49-F238E27FC236}">
                  <a16:creationId xmlns:a16="http://schemas.microsoft.com/office/drawing/2014/main" id="{F9AE6746-4490-427B-BDCF-1C2D85A3CBD6}"/>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sp>
        <p:nvSpPr>
          <p:cNvPr id="114" name="Text Placeholder 6">
            <a:extLst>
              <a:ext uri="{FF2B5EF4-FFF2-40B4-BE49-F238E27FC236}">
                <a16:creationId xmlns:a16="http://schemas.microsoft.com/office/drawing/2014/main" id="{98E975AE-5B61-4BC4-BAB4-605C1F9BF31A}"/>
              </a:ext>
            </a:extLst>
          </p:cNvPr>
          <p:cNvSpPr txBox="1">
            <a:spLocks/>
          </p:cNvSpPr>
          <p:nvPr/>
        </p:nvSpPr>
        <p:spPr>
          <a:xfrm>
            <a:off x="855407" y="1399158"/>
            <a:ext cx="10839253" cy="419455"/>
          </a:xfrm>
          <a:prstGeom prst="rect">
            <a:avLst/>
          </a:prstGeom>
          <a:ln w="3175">
            <a:noFill/>
          </a:ln>
        </p:spPr>
        <p:txBody>
          <a:bodyPr vert="horz" lIns="91440" tIns="45720" rIns="91440" bIns="45720" rtlCol="0">
            <a:no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a:t>Les patients peuvent retrouver les documents déposés par leurs professionnels de santé dans les rubriques suivantes. Pour le professionnel, les rubriques sont inchangées et tous les documents déposés par le patient se retrouvent dans la rubrique « Documents déposés par le patient ».</a:t>
            </a:r>
          </a:p>
        </p:txBody>
      </p:sp>
    </p:spTree>
    <p:extLst>
      <p:ext uri="{BB962C8B-B14F-4D97-AF65-F5344CB8AC3E}">
        <p14:creationId xmlns:p14="http://schemas.microsoft.com/office/powerpoint/2010/main" val="1025041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90831" y="2285599"/>
            <a:ext cx="8680878" cy="1462781"/>
          </a:xfrm>
        </p:spPr>
        <p:txBody>
          <a:bodyPr/>
          <a:lstStyle/>
          <a:p>
            <a:r>
              <a:rPr lang="fr-FR">
                <a:latin typeface="Arial"/>
                <a:cs typeface="Arial"/>
              </a:rPr>
              <a:t>Ressources </a:t>
            </a:r>
            <a:endParaRPr lang="fr-FR"/>
          </a:p>
        </p:txBody>
      </p:sp>
    </p:spTree>
    <p:extLst>
      <p:ext uri="{BB962C8B-B14F-4D97-AF65-F5344CB8AC3E}">
        <p14:creationId xmlns:p14="http://schemas.microsoft.com/office/powerpoint/2010/main" val="8393620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A3992282-B262-2D4C-8983-CF3D673FC7DA}"/>
              </a:ext>
            </a:extLst>
          </p:cNvPr>
          <p:cNvSpPr>
            <a:spLocks noGrp="1"/>
          </p:cNvSpPr>
          <p:nvPr>
            <p:ph type="title"/>
          </p:nvPr>
        </p:nvSpPr>
        <p:spPr/>
        <p:txBody>
          <a:bodyPr/>
          <a:lstStyle/>
          <a:p>
            <a:r>
              <a:rPr lang="fr-FR"/>
              <a:t>Sommaire</a:t>
            </a:r>
          </a:p>
        </p:txBody>
      </p:sp>
      <p:sp>
        <p:nvSpPr>
          <p:cNvPr id="5" name="Espace réservé du contenu 4">
            <a:extLst>
              <a:ext uri="{FF2B5EF4-FFF2-40B4-BE49-F238E27FC236}">
                <a16:creationId xmlns:a16="http://schemas.microsoft.com/office/drawing/2014/main" id="{B559ACC8-F74D-514E-86DD-E3B2B723A17D}"/>
              </a:ext>
            </a:extLst>
          </p:cNvPr>
          <p:cNvSpPr>
            <a:spLocks noGrp="1"/>
          </p:cNvSpPr>
          <p:nvPr>
            <p:ph sz="half" idx="1"/>
          </p:nvPr>
        </p:nvSpPr>
        <p:spPr>
          <a:xfrm>
            <a:off x="484176" y="2648551"/>
            <a:ext cx="9089592" cy="3396649"/>
          </a:xfrm>
        </p:spPr>
        <p:txBody>
          <a:bodyPr vert="horz" lIns="0" tIns="0" rIns="0" bIns="0" rtlCol="0" anchor="t">
            <a:noAutofit/>
          </a:bodyPr>
          <a:lstStyle/>
          <a:p>
            <a:r>
              <a:rPr lang="fr-FR" sz="2400"/>
              <a:t>1 / L’histoire de Mon espace santé</a:t>
            </a:r>
          </a:p>
          <a:p>
            <a:r>
              <a:rPr lang="fr-FR" sz="2400">
                <a:latin typeface="Arial"/>
                <a:cs typeface="Arial"/>
              </a:rPr>
              <a:t>2 / Comment Mon espace santé s’intègre dans vos usages </a:t>
            </a:r>
          </a:p>
          <a:p>
            <a:r>
              <a:rPr lang="fr-FR" sz="2400">
                <a:latin typeface="Arial"/>
                <a:cs typeface="Arial"/>
              </a:rPr>
              <a:t>et outils du quotidien ?</a:t>
            </a:r>
            <a:endParaRPr lang="fr-FR"/>
          </a:p>
          <a:p>
            <a:r>
              <a:rPr lang="fr-FR" sz="2400"/>
              <a:t>3 / Démonstration Web PS DMP </a:t>
            </a:r>
          </a:p>
          <a:p>
            <a:endParaRPr lang="fr-FR" sz="2400"/>
          </a:p>
          <a:p>
            <a:endParaRPr lang="fr-FR" sz="2400"/>
          </a:p>
        </p:txBody>
      </p:sp>
    </p:spTree>
    <p:extLst>
      <p:ext uri="{BB962C8B-B14F-4D97-AF65-F5344CB8AC3E}">
        <p14:creationId xmlns:p14="http://schemas.microsoft.com/office/powerpoint/2010/main" val="20020412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F9C0D4F-C56A-EAA9-81A9-F355D7AC6726}"/>
              </a:ext>
            </a:extLst>
          </p:cNvPr>
          <p:cNvSpPr>
            <a:spLocks noGrp="1"/>
          </p:cNvSpPr>
          <p:nvPr>
            <p:ph type="title"/>
          </p:nvPr>
        </p:nvSpPr>
        <p:spPr>
          <a:xfrm>
            <a:off x="2313518" y="16625"/>
            <a:ext cx="7920374" cy="1133342"/>
          </a:xfrm>
        </p:spPr>
        <p:txBody>
          <a:bodyPr>
            <a:normAutofit/>
          </a:bodyPr>
          <a:lstStyle/>
          <a:p>
            <a:r>
              <a:rPr lang="fr-FR" sz="2800"/>
              <a:t>Page Mon espace santé – e sante </a:t>
            </a:r>
          </a:p>
        </p:txBody>
      </p:sp>
      <p:sp>
        <p:nvSpPr>
          <p:cNvPr id="4" name="Espace réservé du numéro de diapositive 3">
            <a:extLst>
              <a:ext uri="{FF2B5EF4-FFF2-40B4-BE49-F238E27FC236}">
                <a16:creationId xmlns:a16="http://schemas.microsoft.com/office/drawing/2014/main" id="{DD449EFD-8E66-5527-F743-C41C3FEF9341}"/>
              </a:ext>
            </a:extLst>
          </p:cNvPr>
          <p:cNvSpPr>
            <a:spLocks noGrp="1"/>
          </p:cNvSpPr>
          <p:nvPr>
            <p:ph type="sldNum" sz="quarter" idx="4"/>
          </p:nvPr>
        </p:nvSpPr>
        <p:spPr/>
        <p:txBody>
          <a:bodyPr/>
          <a:lstStyle/>
          <a:p>
            <a:fld id="{86CB4B4D-7CA3-9044-876B-883B54F8677D}" type="slidenum">
              <a:rPr lang="fr-FR" smtClean="0"/>
              <a:pPr/>
              <a:t>20</a:t>
            </a:fld>
            <a:endParaRPr lang="fr-FR"/>
          </a:p>
        </p:txBody>
      </p:sp>
      <p:sp>
        <p:nvSpPr>
          <p:cNvPr id="20" name="ZoneTexte 19"/>
          <p:cNvSpPr txBox="1"/>
          <p:nvPr/>
        </p:nvSpPr>
        <p:spPr>
          <a:xfrm>
            <a:off x="1317734" y="1699668"/>
            <a:ext cx="4174936"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2438338" rtl="0" fontAlgn="auto" latinLnBrk="0" hangingPunct="0">
              <a:lnSpc>
                <a:spcPct val="100000"/>
              </a:lnSpc>
              <a:spcBef>
                <a:spcPts val="0"/>
              </a:spcBef>
              <a:spcAft>
                <a:spcPts val="0"/>
              </a:spcAft>
              <a:buClrTx/>
              <a:buSzTx/>
              <a:buFontTx/>
              <a:buNone/>
              <a:tabLst/>
            </a:pPr>
            <a:r>
              <a:rPr kumimoji="0" lang="fr-FR" b="1" i="0" u="none" strike="noStrike" cap="none" spc="0" normalizeH="0" baseline="0">
                <a:ln>
                  <a:noFill/>
                </a:ln>
                <a:solidFill>
                  <a:srgbClr val="DF2680"/>
                </a:solidFill>
                <a:effectLst/>
                <a:uFillTx/>
                <a:sym typeface="Helvetica Neue"/>
              </a:rPr>
              <a:t>De</a:t>
            </a:r>
            <a:r>
              <a:rPr kumimoji="0" lang="fr-FR" b="1" i="0" u="none" strike="noStrike" cap="none" spc="0" normalizeH="0">
                <a:ln>
                  <a:noFill/>
                </a:ln>
                <a:solidFill>
                  <a:srgbClr val="DF2680"/>
                </a:solidFill>
                <a:effectLst/>
                <a:uFillTx/>
                <a:sym typeface="Helvetica Neue"/>
              </a:rPr>
              <a:t> nouvelles pages Mon espace santé </a:t>
            </a:r>
            <a:endParaRPr kumimoji="0" lang="fr-FR" b="1" i="0" u="none" strike="noStrike" cap="none" spc="0" normalizeH="0" baseline="0">
              <a:ln>
                <a:noFill/>
              </a:ln>
              <a:solidFill>
                <a:srgbClr val="DF2680"/>
              </a:solidFill>
              <a:effectLst/>
              <a:uFillTx/>
              <a:sym typeface="Helvetica Neue"/>
            </a:endParaRPr>
          </a:p>
        </p:txBody>
      </p:sp>
      <p:grpSp>
        <p:nvGrpSpPr>
          <p:cNvPr id="21" name="Groupe 20"/>
          <p:cNvGrpSpPr/>
          <p:nvPr/>
        </p:nvGrpSpPr>
        <p:grpSpPr>
          <a:xfrm>
            <a:off x="359716" y="1683148"/>
            <a:ext cx="884053" cy="681089"/>
            <a:chOff x="7075952" y="1848892"/>
            <a:chExt cx="884053" cy="681089"/>
          </a:xfrm>
        </p:grpSpPr>
        <p:sp>
          <p:nvSpPr>
            <p:cNvPr id="22" name="Rectangle avec coins arrondis en diagonale 21"/>
            <p:cNvSpPr/>
            <p:nvPr/>
          </p:nvSpPr>
          <p:spPr>
            <a:xfrm>
              <a:off x="7075952" y="1848892"/>
              <a:ext cx="884053" cy="681089"/>
            </a:xfrm>
            <a:prstGeom prst="round2DiagRect">
              <a:avLst/>
            </a:prstGeom>
            <a:solidFill>
              <a:srgbClr val="FFD9E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3" name="Rectangle avec coins arrondis en diagonale 22"/>
            <p:cNvSpPr/>
            <p:nvPr/>
          </p:nvSpPr>
          <p:spPr>
            <a:xfrm>
              <a:off x="7149917" y="1893166"/>
              <a:ext cx="736122" cy="592355"/>
            </a:xfrm>
            <a:prstGeom prst="round2Diag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24" name="Groupe 23"/>
            <p:cNvGrpSpPr/>
            <p:nvPr/>
          </p:nvGrpSpPr>
          <p:grpSpPr>
            <a:xfrm>
              <a:off x="7301709" y="1970828"/>
              <a:ext cx="432537" cy="430698"/>
              <a:chOff x="4255801" y="4103937"/>
              <a:chExt cx="432537" cy="430698"/>
            </a:xfrm>
          </p:grpSpPr>
          <p:sp>
            <p:nvSpPr>
              <p:cNvPr id="25" name="Freeform 5"/>
              <p:cNvSpPr>
                <a:spLocks noEditPoints="1"/>
              </p:cNvSpPr>
              <p:nvPr/>
            </p:nvSpPr>
            <p:spPr bwMode="auto">
              <a:xfrm>
                <a:off x="4255801" y="4103937"/>
                <a:ext cx="432537" cy="430698"/>
              </a:xfrm>
              <a:custGeom>
                <a:avLst/>
                <a:gdLst>
                  <a:gd name="T0" fmla="*/ 1512 w 1544"/>
                  <a:gd name="T1" fmla="*/ 735 h 1544"/>
                  <a:gd name="T2" fmla="*/ 1487 w 1544"/>
                  <a:gd name="T3" fmla="*/ 579 h 1544"/>
                  <a:gd name="T4" fmla="*/ 1464 w 1544"/>
                  <a:gd name="T5" fmla="*/ 420 h 1544"/>
                  <a:gd name="T6" fmla="*/ 1349 w 1544"/>
                  <a:gd name="T7" fmla="*/ 307 h 1544"/>
                  <a:gd name="T8" fmla="*/ 1237 w 1544"/>
                  <a:gd name="T9" fmla="*/ 195 h 1544"/>
                  <a:gd name="T10" fmla="*/ 1124 w 1544"/>
                  <a:gd name="T11" fmla="*/ 80 h 1544"/>
                  <a:gd name="T12" fmla="*/ 965 w 1544"/>
                  <a:gd name="T13" fmla="*/ 57 h 1544"/>
                  <a:gd name="T14" fmla="*/ 809 w 1544"/>
                  <a:gd name="T15" fmla="*/ 32 h 1544"/>
                  <a:gd name="T16" fmla="*/ 651 w 1544"/>
                  <a:gd name="T17" fmla="*/ 5 h 1544"/>
                  <a:gd name="T18" fmla="*/ 508 w 1544"/>
                  <a:gd name="T19" fmla="*/ 80 h 1544"/>
                  <a:gd name="T20" fmla="*/ 367 w 1544"/>
                  <a:gd name="T21" fmla="*/ 152 h 1544"/>
                  <a:gd name="T22" fmla="*/ 223 w 1544"/>
                  <a:gd name="T23" fmla="*/ 223 h 1544"/>
                  <a:gd name="T24" fmla="*/ 152 w 1544"/>
                  <a:gd name="T25" fmla="*/ 367 h 1544"/>
                  <a:gd name="T26" fmla="*/ 80 w 1544"/>
                  <a:gd name="T27" fmla="*/ 508 h 1544"/>
                  <a:gd name="T28" fmla="*/ 5 w 1544"/>
                  <a:gd name="T29" fmla="*/ 651 h 1544"/>
                  <a:gd name="T30" fmla="*/ 32 w 1544"/>
                  <a:gd name="T31" fmla="*/ 809 h 1544"/>
                  <a:gd name="T32" fmla="*/ 57 w 1544"/>
                  <a:gd name="T33" fmla="*/ 965 h 1544"/>
                  <a:gd name="T34" fmla="*/ 80 w 1544"/>
                  <a:gd name="T35" fmla="*/ 1124 h 1544"/>
                  <a:gd name="T36" fmla="*/ 195 w 1544"/>
                  <a:gd name="T37" fmla="*/ 1237 h 1544"/>
                  <a:gd name="T38" fmla="*/ 307 w 1544"/>
                  <a:gd name="T39" fmla="*/ 1349 h 1544"/>
                  <a:gd name="T40" fmla="*/ 420 w 1544"/>
                  <a:gd name="T41" fmla="*/ 1464 h 1544"/>
                  <a:gd name="T42" fmla="*/ 579 w 1544"/>
                  <a:gd name="T43" fmla="*/ 1487 h 1544"/>
                  <a:gd name="T44" fmla="*/ 735 w 1544"/>
                  <a:gd name="T45" fmla="*/ 1512 h 1544"/>
                  <a:gd name="T46" fmla="*/ 878 w 1544"/>
                  <a:gd name="T47" fmla="*/ 1540 h 1544"/>
                  <a:gd name="T48" fmla="*/ 965 w 1544"/>
                  <a:gd name="T49" fmla="*/ 1487 h 1544"/>
                  <a:gd name="T50" fmla="*/ 1124 w 1544"/>
                  <a:gd name="T51" fmla="*/ 1464 h 1544"/>
                  <a:gd name="T52" fmla="*/ 1237 w 1544"/>
                  <a:gd name="T53" fmla="*/ 1349 h 1544"/>
                  <a:gd name="T54" fmla="*/ 1349 w 1544"/>
                  <a:gd name="T55" fmla="*/ 1237 h 1544"/>
                  <a:gd name="T56" fmla="*/ 1464 w 1544"/>
                  <a:gd name="T57" fmla="*/ 1124 h 1544"/>
                  <a:gd name="T58" fmla="*/ 1487 w 1544"/>
                  <a:gd name="T59" fmla="*/ 965 h 1544"/>
                  <a:gd name="T60" fmla="*/ 1512 w 1544"/>
                  <a:gd name="T61" fmla="*/ 809 h 1544"/>
                  <a:gd name="T62" fmla="*/ 1494 w 1544"/>
                  <a:gd name="T63" fmla="*/ 886 h 1544"/>
                  <a:gd name="T64" fmla="*/ 1424 w 1544"/>
                  <a:gd name="T65" fmla="*/ 1056 h 1544"/>
                  <a:gd name="T66" fmla="*/ 1385 w 1544"/>
                  <a:gd name="T67" fmla="*/ 1132 h 1544"/>
                  <a:gd name="T68" fmla="*/ 1289 w 1544"/>
                  <a:gd name="T69" fmla="*/ 1289 h 1544"/>
                  <a:gd name="T70" fmla="*/ 1132 w 1544"/>
                  <a:gd name="T71" fmla="*/ 1385 h 1544"/>
                  <a:gd name="T72" fmla="*/ 1056 w 1544"/>
                  <a:gd name="T73" fmla="*/ 1424 h 1544"/>
                  <a:gd name="T74" fmla="*/ 886 w 1544"/>
                  <a:gd name="T75" fmla="*/ 1494 h 1544"/>
                  <a:gd name="T76" fmla="*/ 772 w 1544"/>
                  <a:gd name="T77" fmla="*/ 1452 h 1544"/>
                  <a:gd name="T78" fmla="*/ 658 w 1544"/>
                  <a:gd name="T79" fmla="*/ 1494 h 1544"/>
                  <a:gd name="T80" fmla="*/ 488 w 1544"/>
                  <a:gd name="T81" fmla="*/ 1424 h 1544"/>
                  <a:gd name="T82" fmla="*/ 412 w 1544"/>
                  <a:gd name="T83" fmla="*/ 1385 h 1544"/>
                  <a:gd name="T84" fmla="*/ 255 w 1544"/>
                  <a:gd name="T85" fmla="*/ 1289 h 1544"/>
                  <a:gd name="T86" fmla="*/ 159 w 1544"/>
                  <a:gd name="T87" fmla="*/ 1132 h 1544"/>
                  <a:gd name="T88" fmla="*/ 120 w 1544"/>
                  <a:gd name="T89" fmla="*/ 1056 h 1544"/>
                  <a:gd name="T90" fmla="*/ 50 w 1544"/>
                  <a:gd name="T91" fmla="*/ 886 h 1544"/>
                  <a:gd name="T92" fmla="*/ 64 w 1544"/>
                  <a:gd name="T93" fmla="*/ 703 h 1544"/>
                  <a:gd name="T94" fmla="*/ 78 w 1544"/>
                  <a:gd name="T95" fmla="*/ 619 h 1544"/>
                  <a:gd name="T96" fmla="*/ 120 w 1544"/>
                  <a:gd name="T97" fmla="*/ 440 h 1544"/>
                  <a:gd name="T98" fmla="*/ 240 w 1544"/>
                  <a:gd name="T99" fmla="*/ 300 h 1544"/>
                  <a:gd name="T100" fmla="*/ 300 w 1544"/>
                  <a:gd name="T101" fmla="*/ 240 h 1544"/>
                  <a:gd name="T102" fmla="*/ 440 w 1544"/>
                  <a:gd name="T103" fmla="*/ 120 h 1544"/>
                  <a:gd name="T104" fmla="*/ 619 w 1544"/>
                  <a:gd name="T105" fmla="*/ 78 h 1544"/>
                  <a:gd name="T106" fmla="*/ 703 w 1544"/>
                  <a:gd name="T107" fmla="*/ 64 h 1544"/>
                  <a:gd name="T108" fmla="*/ 886 w 1544"/>
                  <a:gd name="T109" fmla="*/ 50 h 1544"/>
                  <a:gd name="T110" fmla="*/ 1056 w 1544"/>
                  <a:gd name="T111" fmla="*/ 120 h 1544"/>
                  <a:gd name="T112" fmla="*/ 1132 w 1544"/>
                  <a:gd name="T113" fmla="*/ 159 h 1544"/>
                  <a:gd name="T114" fmla="*/ 1289 w 1544"/>
                  <a:gd name="T115" fmla="*/ 255 h 1544"/>
                  <a:gd name="T116" fmla="*/ 1385 w 1544"/>
                  <a:gd name="T117" fmla="*/ 412 h 1544"/>
                  <a:gd name="T118" fmla="*/ 1424 w 1544"/>
                  <a:gd name="T119" fmla="*/ 488 h 1544"/>
                  <a:gd name="T120" fmla="*/ 1494 w 1544"/>
                  <a:gd name="T121" fmla="*/ 658 h 1544"/>
                  <a:gd name="T122" fmla="*/ 1480 w 1544"/>
                  <a:gd name="T123" fmla="*/ 841 h 1544"/>
                  <a:gd name="T124" fmla="*/ 1480 w 1544"/>
                  <a:gd name="T125" fmla="*/ 841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4" h="1544">
                    <a:moveTo>
                      <a:pt x="1512" y="809"/>
                    </a:moveTo>
                    <a:cubicBezTo>
                      <a:pt x="1491" y="789"/>
                      <a:pt x="1491" y="755"/>
                      <a:pt x="1512" y="735"/>
                    </a:cubicBezTo>
                    <a:cubicBezTo>
                      <a:pt x="1534" y="712"/>
                      <a:pt x="1544" y="682"/>
                      <a:pt x="1539" y="651"/>
                    </a:cubicBezTo>
                    <a:cubicBezTo>
                      <a:pt x="1534" y="619"/>
                      <a:pt x="1515" y="593"/>
                      <a:pt x="1487" y="579"/>
                    </a:cubicBezTo>
                    <a:cubicBezTo>
                      <a:pt x="1461" y="566"/>
                      <a:pt x="1451" y="534"/>
                      <a:pt x="1464" y="508"/>
                    </a:cubicBezTo>
                    <a:cubicBezTo>
                      <a:pt x="1478" y="480"/>
                      <a:pt x="1478" y="448"/>
                      <a:pt x="1464" y="420"/>
                    </a:cubicBezTo>
                    <a:cubicBezTo>
                      <a:pt x="1449" y="391"/>
                      <a:pt x="1423" y="372"/>
                      <a:pt x="1392" y="367"/>
                    </a:cubicBezTo>
                    <a:cubicBezTo>
                      <a:pt x="1364" y="363"/>
                      <a:pt x="1344" y="336"/>
                      <a:pt x="1349" y="307"/>
                    </a:cubicBezTo>
                    <a:cubicBezTo>
                      <a:pt x="1353" y="276"/>
                      <a:pt x="1343" y="245"/>
                      <a:pt x="1321" y="223"/>
                    </a:cubicBezTo>
                    <a:cubicBezTo>
                      <a:pt x="1299" y="201"/>
                      <a:pt x="1268" y="191"/>
                      <a:pt x="1237" y="195"/>
                    </a:cubicBezTo>
                    <a:cubicBezTo>
                      <a:pt x="1208" y="200"/>
                      <a:pt x="1181" y="180"/>
                      <a:pt x="1177" y="152"/>
                    </a:cubicBezTo>
                    <a:cubicBezTo>
                      <a:pt x="1172" y="121"/>
                      <a:pt x="1152" y="95"/>
                      <a:pt x="1124" y="80"/>
                    </a:cubicBezTo>
                    <a:cubicBezTo>
                      <a:pt x="1096" y="66"/>
                      <a:pt x="1064" y="66"/>
                      <a:pt x="1036" y="80"/>
                    </a:cubicBezTo>
                    <a:cubicBezTo>
                      <a:pt x="1010" y="93"/>
                      <a:pt x="978" y="83"/>
                      <a:pt x="965" y="57"/>
                    </a:cubicBezTo>
                    <a:cubicBezTo>
                      <a:pt x="951" y="29"/>
                      <a:pt x="925" y="10"/>
                      <a:pt x="893" y="5"/>
                    </a:cubicBezTo>
                    <a:cubicBezTo>
                      <a:pt x="862" y="0"/>
                      <a:pt x="832" y="10"/>
                      <a:pt x="809" y="32"/>
                    </a:cubicBezTo>
                    <a:cubicBezTo>
                      <a:pt x="789" y="53"/>
                      <a:pt x="755" y="53"/>
                      <a:pt x="735" y="32"/>
                    </a:cubicBezTo>
                    <a:cubicBezTo>
                      <a:pt x="712" y="10"/>
                      <a:pt x="682" y="0"/>
                      <a:pt x="651" y="5"/>
                    </a:cubicBezTo>
                    <a:cubicBezTo>
                      <a:pt x="619" y="10"/>
                      <a:pt x="593" y="29"/>
                      <a:pt x="579" y="57"/>
                    </a:cubicBezTo>
                    <a:cubicBezTo>
                      <a:pt x="566" y="83"/>
                      <a:pt x="534" y="93"/>
                      <a:pt x="508" y="80"/>
                    </a:cubicBezTo>
                    <a:cubicBezTo>
                      <a:pt x="480" y="66"/>
                      <a:pt x="448" y="66"/>
                      <a:pt x="420" y="80"/>
                    </a:cubicBezTo>
                    <a:cubicBezTo>
                      <a:pt x="392" y="95"/>
                      <a:pt x="372" y="121"/>
                      <a:pt x="367" y="152"/>
                    </a:cubicBezTo>
                    <a:cubicBezTo>
                      <a:pt x="363" y="180"/>
                      <a:pt x="336" y="200"/>
                      <a:pt x="307" y="195"/>
                    </a:cubicBezTo>
                    <a:cubicBezTo>
                      <a:pt x="276" y="191"/>
                      <a:pt x="245" y="201"/>
                      <a:pt x="223" y="223"/>
                    </a:cubicBezTo>
                    <a:cubicBezTo>
                      <a:pt x="201" y="245"/>
                      <a:pt x="191" y="276"/>
                      <a:pt x="195" y="307"/>
                    </a:cubicBezTo>
                    <a:cubicBezTo>
                      <a:pt x="200" y="336"/>
                      <a:pt x="180" y="363"/>
                      <a:pt x="152" y="367"/>
                    </a:cubicBezTo>
                    <a:cubicBezTo>
                      <a:pt x="121" y="372"/>
                      <a:pt x="95" y="392"/>
                      <a:pt x="80" y="420"/>
                    </a:cubicBezTo>
                    <a:cubicBezTo>
                      <a:pt x="66" y="448"/>
                      <a:pt x="66" y="480"/>
                      <a:pt x="80" y="508"/>
                    </a:cubicBezTo>
                    <a:cubicBezTo>
                      <a:pt x="93" y="534"/>
                      <a:pt x="83" y="566"/>
                      <a:pt x="57" y="579"/>
                    </a:cubicBezTo>
                    <a:cubicBezTo>
                      <a:pt x="29" y="593"/>
                      <a:pt x="10" y="619"/>
                      <a:pt x="5" y="651"/>
                    </a:cubicBezTo>
                    <a:cubicBezTo>
                      <a:pt x="0" y="682"/>
                      <a:pt x="10" y="712"/>
                      <a:pt x="32" y="735"/>
                    </a:cubicBezTo>
                    <a:cubicBezTo>
                      <a:pt x="53" y="755"/>
                      <a:pt x="53" y="789"/>
                      <a:pt x="32" y="809"/>
                    </a:cubicBezTo>
                    <a:cubicBezTo>
                      <a:pt x="10" y="832"/>
                      <a:pt x="0" y="862"/>
                      <a:pt x="5" y="893"/>
                    </a:cubicBezTo>
                    <a:cubicBezTo>
                      <a:pt x="10" y="925"/>
                      <a:pt x="29" y="951"/>
                      <a:pt x="57" y="965"/>
                    </a:cubicBezTo>
                    <a:cubicBezTo>
                      <a:pt x="83" y="978"/>
                      <a:pt x="93" y="1010"/>
                      <a:pt x="80" y="1036"/>
                    </a:cubicBezTo>
                    <a:cubicBezTo>
                      <a:pt x="66" y="1064"/>
                      <a:pt x="66" y="1096"/>
                      <a:pt x="80" y="1124"/>
                    </a:cubicBezTo>
                    <a:cubicBezTo>
                      <a:pt x="95" y="1152"/>
                      <a:pt x="121" y="1172"/>
                      <a:pt x="152" y="1177"/>
                    </a:cubicBezTo>
                    <a:cubicBezTo>
                      <a:pt x="180" y="1181"/>
                      <a:pt x="200" y="1208"/>
                      <a:pt x="195" y="1237"/>
                    </a:cubicBezTo>
                    <a:cubicBezTo>
                      <a:pt x="191" y="1268"/>
                      <a:pt x="201" y="1299"/>
                      <a:pt x="223" y="1321"/>
                    </a:cubicBezTo>
                    <a:cubicBezTo>
                      <a:pt x="245" y="1343"/>
                      <a:pt x="276" y="1353"/>
                      <a:pt x="307" y="1349"/>
                    </a:cubicBezTo>
                    <a:cubicBezTo>
                      <a:pt x="336" y="1344"/>
                      <a:pt x="363" y="1364"/>
                      <a:pt x="367" y="1392"/>
                    </a:cubicBezTo>
                    <a:cubicBezTo>
                      <a:pt x="372" y="1423"/>
                      <a:pt x="392" y="1449"/>
                      <a:pt x="420" y="1464"/>
                    </a:cubicBezTo>
                    <a:cubicBezTo>
                      <a:pt x="448" y="1478"/>
                      <a:pt x="480" y="1478"/>
                      <a:pt x="508" y="1464"/>
                    </a:cubicBezTo>
                    <a:cubicBezTo>
                      <a:pt x="534" y="1451"/>
                      <a:pt x="566" y="1461"/>
                      <a:pt x="579" y="1487"/>
                    </a:cubicBezTo>
                    <a:cubicBezTo>
                      <a:pt x="593" y="1515"/>
                      <a:pt x="619" y="1534"/>
                      <a:pt x="651" y="1539"/>
                    </a:cubicBezTo>
                    <a:cubicBezTo>
                      <a:pt x="682" y="1544"/>
                      <a:pt x="712" y="1534"/>
                      <a:pt x="735" y="1512"/>
                    </a:cubicBezTo>
                    <a:cubicBezTo>
                      <a:pt x="755" y="1491"/>
                      <a:pt x="789" y="1491"/>
                      <a:pt x="809" y="1512"/>
                    </a:cubicBezTo>
                    <a:cubicBezTo>
                      <a:pt x="828" y="1530"/>
                      <a:pt x="852" y="1540"/>
                      <a:pt x="878" y="1540"/>
                    </a:cubicBezTo>
                    <a:cubicBezTo>
                      <a:pt x="883" y="1540"/>
                      <a:pt x="888" y="1540"/>
                      <a:pt x="893" y="1539"/>
                    </a:cubicBezTo>
                    <a:cubicBezTo>
                      <a:pt x="925" y="1534"/>
                      <a:pt x="951" y="1515"/>
                      <a:pt x="965" y="1487"/>
                    </a:cubicBezTo>
                    <a:cubicBezTo>
                      <a:pt x="978" y="1461"/>
                      <a:pt x="1010" y="1451"/>
                      <a:pt x="1036" y="1464"/>
                    </a:cubicBezTo>
                    <a:cubicBezTo>
                      <a:pt x="1064" y="1478"/>
                      <a:pt x="1096" y="1478"/>
                      <a:pt x="1124" y="1464"/>
                    </a:cubicBezTo>
                    <a:cubicBezTo>
                      <a:pt x="1153" y="1449"/>
                      <a:pt x="1172" y="1423"/>
                      <a:pt x="1177" y="1392"/>
                    </a:cubicBezTo>
                    <a:cubicBezTo>
                      <a:pt x="1181" y="1364"/>
                      <a:pt x="1208" y="1344"/>
                      <a:pt x="1237" y="1349"/>
                    </a:cubicBezTo>
                    <a:cubicBezTo>
                      <a:pt x="1268" y="1353"/>
                      <a:pt x="1299" y="1343"/>
                      <a:pt x="1321" y="1321"/>
                    </a:cubicBezTo>
                    <a:cubicBezTo>
                      <a:pt x="1343" y="1299"/>
                      <a:pt x="1353" y="1268"/>
                      <a:pt x="1349" y="1237"/>
                    </a:cubicBezTo>
                    <a:cubicBezTo>
                      <a:pt x="1344" y="1208"/>
                      <a:pt x="1364" y="1181"/>
                      <a:pt x="1392" y="1177"/>
                    </a:cubicBezTo>
                    <a:cubicBezTo>
                      <a:pt x="1423" y="1172"/>
                      <a:pt x="1449" y="1152"/>
                      <a:pt x="1464" y="1124"/>
                    </a:cubicBezTo>
                    <a:cubicBezTo>
                      <a:pt x="1478" y="1096"/>
                      <a:pt x="1478" y="1064"/>
                      <a:pt x="1464" y="1036"/>
                    </a:cubicBezTo>
                    <a:cubicBezTo>
                      <a:pt x="1451" y="1010"/>
                      <a:pt x="1461" y="978"/>
                      <a:pt x="1487" y="965"/>
                    </a:cubicBezTo>
                    <a:cubicBezTo>
                      <a:pt x="1515" y="951"/>
                      <a:pt x="1534" y="925"/>
                      <a:pt x="1539" y="893"/>
                    </a:cubicBezTo>
                    <a:cubicBezTo>
                      <a:pt x="1544" y="862"/>
                      <a:pt x="1534" y="832"/>
                      <a:pt x="1512" y="809"/>
                    </a:cubicBezTo>
                    <a:close/>
                    <a:moveTo>
                      <a:pt x="1480" y="841"/>
                    </a:moveTo>
                    <a:cubicBezTo>
                      <a:pt x="1492" y="853"/>
                      <a:pt x="1497" y="870"/>
                      <a:pt x="1494" y="886"/>
                    </a:cubicBezTo>
                    <a:cubicBezTo>
                      <a:pt x="1492" y="903"/>
                      <a:pt x="1481" y="917"/>
                      <a:pt x="1466" y="925"/>
                    </a:cubicBezTo>
                    <a:cubicBezTo>
                      <a:pt x="1419" y="950"/>
                      <a:pt x="1400" y="1008"/>
                      <a:pt x="1424" y="1056"/>
                    </a:cubicBezTo>
                    <a:cubicBezTo>
                      <a:pt x="1431" y="1071"/>
                      <a:pt x="1431" y="1089"/>
                      <a:pt x="1424" y="1104"/>
                    </a:cubicBezTo>
                    <a:cubicBezTo>
                      <a:pt x="1416" y="1119"/>
                      <a:pt x="1402" y="1129"/>
                      <a:pt x="1385" y="1132"/>
                    </a:cubicBezTo>
                    <a:cubicBezTo>
                      <a:pt x="1332" y="1141"/>
                      <a:pt x="1296" y="1191"/>
                      <a:pt x="1304" y="1244"/>
                    </a:cubicBezTo>
                    <a:cubicBezTo>
                      <a:pt x="1307" y="1261"/>
                      <a:pt x="1301" y="1277"/>
                      <a:pt x="1289" y="1289"/>
                    </a:cubicBezTo>
                    <a:cubicBezTo>
                      <a:pt x="1277" y="1301"/>
                      <a:pt x="1261" y="1307"/>
                      <a:pt x="1244" y="1304"/>
                    </a:cubicBezTo>
                    <a:cubicBezTo>
                      <a:pt x="1191" y="1296"/>
                      <a:pt x="1141" y="1332"/>
                      <a:pt x="1132" y="1385"/>
                    </a:cubicBezTo>
                    <a:cubicBezTo>
                      <a:pt x="1129" y="1402"/>
                      <a:pt x="1119" y="1416"/>
                      <a:pt x="1104" y="1424"/>
                    </a:cubicBezTo>
                    <a:cubicBezTo>
                      <a:pt x="1089" y="1431"/>
                      <a:pt x="1071" y="1431"/>
                      <a:pt x="1056" y="1424"/>
                    </a:cubicBezTo>
                    <a:cubicBezTo>
                      <a:pt x="1008" y="1400"/>
                      <a:pt x="950" y="1419"/>
                      <a:pt x="925" y="1466"/>
                    </a:cubicBezTo>
                    <a:cubicBezTo>
                      <a:pt x="917" y="1481"/>
                      <a:pt x="903" y="1492"/>
                      <a:pt x="886" y="1494"/>
                    </a:cubicBezTo>
                    <a:cubicBezTo>
                      <a:pt x="870" y="1497"/>
                      <a:pt x="853" y="1492"/>
                      <a:pt x="841" y="1480"/>
                    </a:cubicBezTo>
                    <a:cubicBezTo>
                      <a:pt x="822" y="1461"/>
                      <a:pt x="797" y="1452"/>
                      <a:pt x="772" y="1452"/>
                    </a:cubicBezTo>
                    <a:cubicBezTo>
                      <a:pt x="747" y="1452"/>
                      <a:pt x="722" y="1461"/>
                      <a:pt x="703" y="1480"/>
                    </a:cubicBezTo>
                    <a:cubicBezTo>
                      <a:pt x="691" y="1492"/>
                      <a:pt x="674" y="1497"/>
                      <a:pt x="658" y="1494"/>
                    </a:cubicBezTo>
                    <a:cubicBezTo>
                      <a:pt x="641" y="1492"/>
                      <a:pt x="627" y="1481"/>
                      <a:pt x="619" y="1466"/>
                    </a:cubicBezTo>
                    <a:cubicBezTo>
                      <a:pt x="594" y="1419"/>
                      <a:pt x="536" y="1400"/>
                      <a:pt x="488" y="1424"/>
                    </a:cubicBezTo>
                    <a:cubicBezTo>
                      <a:pt x="473" y="1431"/>
                      <a:pt x="455" y="1431"/>
                      <a:pt x="440" y="1424"/>
                    </a:cubicBezTo>
                    <a:cubicBezTo>
                      <a:pt x="425" y="1416"/>
                      <a:pt x="415" y="1402"/>
                      <a:pt x="412" y="1385"/>
                    </a:cubicBezTo>
                    <a:cubicBezTo>
                      <a:pt x="403" y="1332"/>
                      <a:pt x="353" y="1296"/>
                      <a:pt x="300" y="1304"/>
                    </a:cubicBezTo>
                    <a:cubicBezTo>
                      <a:pt x="283" y="1307"/>
                      <a:pt x="267" y="1301"/>
                      <a:pt x="255" y="1289"/>
                    </a:cubicBezTo>
                    <a:cubicBezTo>
                      <a:pt x="243" y="1277"/>
                      <a:pt x="237" y="1261"/>
                      <a:pt x="240" y="1244"/>
                    </a:cubicBezTo>
                    <a:cubicBezTo>
                      <a:pt x="248" y="1191"/>
                      <a:pt x="212" y="1141"/>
                      <a:pt x="159" y="1132"/>
                    </a:cubicBezTo>
                    <a:cubicBezTo>
                      <a:pt x="142" y="1129"/>
                      <a:pt x="128" y="1119"/>
                      <a:pt x="120" y="1104"/>
                    </a:cubicBezTo>
                    <a:cubicBezTo>
                      <a:pt x="113" y="1089"/>
                      <a:pt x="113" y="1071"/>
                      <a:pt x="120" y="1056"/>
                    </a:cubicBezTo>
                    <a:cubicBezTo>
                      <a:pt x="144" y="1008"/>
                      <a:pt x="125" y="950"/>
                      <a:pt x="78" y="925"/>
                    </a:cubicBezTo>
                    <a:cubicBezTo>
                      <a:pt x="63" y="917"/>
                      <a:pt x="52" y="903"/>
                      <a:pt x="50" y="886"/>
                    </a:cubicBezTo>
                    <a:cubicBezTo>
                      <a:pt x="47" y="870"/>
                      <a:pt x="52" y="853"/>
                      <a:pt x="64" y="841"/>
                    </a:cubicBezTo>
                    <a:cubicBezTo>
                      <a:pt x="102" y="803"/>
                      <a:pt x="102" y="741"/>
                      <a:pt x="64" y="703"/>
                    </a:cubicBezTo>
                    <a:cubicBezTo>
                      <a:pt x="52" y="691"/>
                      <a:pt x="47" y="674"/>
                      <a:pt x="50" y="658"/>
                    </a:cubicBezTo>
                    <a:cubicBezTo>
                      <a:pt x="52" y="641"/>
                      <a:pt x="63" y="627"/>
                      <a:pt x="78" y="619"/>
                    </a:cubicBezTo>
                    <a:cubicBezTo>
                      <a:pt x="125" y="594"/>
                      <a:pt x="144" y="536"/>
                      <a:pt x="120" y="488"/>
                    </a:cubicBezTo>
                    <a:cubicBezTo>
                      <a:pt x="113" y="473"/>
                      <a:pt x="113" y="455"/>
                      <a:pt x="120" y="440"/>
                    </a:cubicBezTo>
                    <a:cubicBezTo>
                      <a:pt x="128" y="425"/>
                      <a:pt x="142" y="415"/>
                      <a:pt x="159" y="412"/>
                    </a:cubicBezTo>
                    <a:cubicBezTo>
                      <a:pt x="212" y="403"/>
                      <a:pt x="248" y="353"/>
                      <a:pt x="240" y="300"/>
                    </a:cubicBezTo>
                    <a:cubicBezTo>
                      <a:pt x="237" y="283"/>
                      <a:pt x="243" y="267"/>
                      <a:pt x="255" y="255"/>
                    </a:cubicBezTo>
                    <a:cubicBezTo>
                      <a:pt x="267" y="243"/>
                      <a:pt x="283" y="237"/>
                      <a:pt x="300" y="240"/>
                    </a:cubicBezTo>
                    <a:cubicBezTo>
                      <a:pt x="353" y="248"/>
                      <a:pt x="403" y="212"/>
                      <a:pt x="412" y="159"/>
                    </a:cubicBezTo>
                    <a:cubicBezTo>
                      <a:pt x="415" y="142"/>
                      <a:pt x="425" y="128"/>
                      <a:pt x="440" y="120"/>
                    </a:cubicBezTo>
                    <a:cubicBezTo>
                      <a:pt x="455" y="113"/>
                      <a:pt x="473" y="113"/>
                      <a:pt x="488" y="120"/>
                    </a:cubicBezTo>
                    <a:cubicBezTo>
                      <a:pt x="536" y="144"/>
                      <a:pt x="594" y="125"/>
                      <a:pt x="619" y="78"/>
                    </a:cubicBezTo>
                    <a:cubicBezTo>
                      <a:pt x="627" y="63"/>
                      <a:pt x="641" y="52"/>
                      <a:pt x="658" y="50"/>
                    </a:cubicBezTo>
                    <a:cubicBezTo>
                      <a:pt x="674" y="47"/>
                      <a:pt x="691" y="52"/>
                      <a:pt x="703" y="64"/>
                    </a:cubicBezTo>
                    <a:cubicBezTo>
                      <a:pt x="741" y="102"/>
                      <a:pt x="803" y="102"/>
                      <a:pt x="841" y="64"/>
                    </a:cubicBezTo>
                    <a:cubicBezTo>
                      <a:pt x="853" y="52"/>
                      <a:pt x="870" y="47"/>
                      <a:pt x="886" y="50"/>
                    </a:cubicBezTo>
                    <a:cubicBezTo>
                      <a:pt x="903" y="52"/>
                      <a:pt x="917" y="63"/>
                      <a:pt x="925" y="78"/>
                    </a:cubicBezTo>
                    <a:cubicBezTo>
                      <a:pt x="950" y="125"/>
                      <a:pt x="1008" y="144"/>
                      <a:pt x="1056" y="120"/>
                    </a:cubicBezTo>
                    <a:cubicBezTo>
                      <a:pt x="1071" y="113"/>
                      <a:pt x="1089" y="113"/>
                      <a:pt x="1104" y="120"/>
                    </a:cubicBezTo>
                    <a:cubicBezTo>
                      <a:pt x="1119" y="128"/>
                      <a:pt x="1129" y="142"/>
                      <a:pt x="1132" y="159"/>
                    </a:cubicBezTo>
                    <a:cubicBezTo>
                      <a:pt x="1141" y="212"/>
                      <a:pt x="1191" y="248"/>
                      <a:pt x="1244" y="240"/>
                    </a:cubicBezTo>
                    <a:cubicBezTo>
                      <a:pt x="1261" y="237"/>
                      <a:pt x="1277" y="243"/>
                      <a:pt x="1289" y="255"/>
                    </a:cubicBezTo>
                    <a:cubicBezTo>
                      <a:pt x="1301" y="267"/>
                      <a:pt x="1307" y="283"/>
                      <a:pt x="1304" y="300"/>
                    </a:cubicBezTo>
                    <a:cubicBezTo>
                      <a:pt x="1296" y="353"/>
                      <a:pt x="1332" y="403"/>
                      <a:pt x="1385" y="412"/>
                    </a:cubicBezTo>
                    <a:cubicBezTo>
                      <a:pt x="1402" y="415"/>
                      <a:pt x="1416" y="425"/>
                      <a:pt x="1424" y="440"/>
                    </a:cubicBezTo>
                    <a:cubicBezTo>
                      <a:pt x="1431" y="455"/>
                      <a:pt x="1431" y="473"/>
                      <a:pt x="1424" y="488"/>
                    </a:cubicBezTo>
                    <a:cubicBezTo>
                      <a:pt x="1400" y="536"/>
                      <a:pt x="1419" y="594"/>
                      <a:pt x="1466" y="619"/>
                    </a:cubicBezTo>
                    <a:cubicBezTo>
                      <a:pt x="1481" y="627"/>
                      <a:pt x="1492" y="641"/>
                      <a:pt x="1494" y="658"/>
                    </a:cubicBezTo>
                    <a:cubicBezTo>
                      <a:pt x="1497" y="674"/>
                      <a:pt x="1492" y="691"/>
                      <a:pt x="1480" y="703"/>
                    </a:cubicBezTo>
                    <a:cubicBezTo>
                      <a:pt x="1442" y="741"/>
                      <a:pt x="1442" y="803"/>
                      <a:pt x="1480" y="841"/>
                    </a:cubicBezTo>
                    <a:close/>
                    <a:moveTo>
                      <a:pt x="1480" y="841"/>
                    </a:moveTo>
                    <a:cubicBezTo>
                      <a:pt x="1480" y="841"/>
                      <a:pt x="1480" y="841"/>
                      <a:pt x="1480" y="841"/>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26" name="Freeform 6"/>
              <p:cNvSpPr>
                <a:spLocks noEditPoints="1"/>
              </p:cNvSpPr>
              <p:nvPr/>
            </p:nvSpPr>
            <p:spPr bwMode="auto">
              <a:xfrm>
                <a:off x="4295791" y="4143927"/>
                <a:ext cx="292572" cy="290273"/>
              </a:xfrm>
              <a:custGeom>
                <a:avLst/>
                <a:gdLst>
                  <a:gd name="T0" fmla="*/ 1033 w 1044"/>
                  <a:gd name="T1" fmla="*/ 154 h 1041"/>
                  <a:gd name="T2" fmla="*/ 606 w 1044"/>
                  <a:gd name="T3" fmla="*/ 6 h 1041"/>
                  <a:gd name="T4" fmla="*/ 188 w 1044"/>
                  <a:gd name="T5" fmla="*/ 188 h 1041"/>
                  <a:gd name="T6" fmla="*/ 6 w 1044"/>
                  <a:gd name="T7" fmla="*/ 606 h 1041"/>
                  <a:gd name="T8" fmla="*/ 154 w 1044"/>
                  <a:gd name="T9" fmla="*/ 1033 h 1041"/>
                  <a:gd name="T10" fmla="*/ 171 w 1044"/>
                  <a:gd name="T11" fmla="*/ 1041 h 1041"/>
                  <a:gd name="T12" fmla="*/ 186 w 1044"/>
                  <a:gd name="T13" fmla="*/ 1036 h 1041"/>
                  <a:gd name="T14" fmla="*/ 188 w 1044"/>
                  <a:gd name="T15" fmla="*/ 1004 h 1041"/>
                  <a:gd name="T16" fmla="*/ 51 w 1044"/>
                  <a:gd name="T17" fmla="*/ 607 h 1041"/>
                  <a:gd name="T18" fmla="*/ 220 w 1044"/>
                  <a:gd name="T19" fmla="*/ 220 h 1041"/>
                  <a:gd name="T20" fmla="*/ 607 w 1044"/>
                  <a:gd name="T21" fmla="*/ 51 h 1041"/>
                  <a:gd name="T22" fmla="*/ 1004 w 1044"/>
                  <a:gd name="T23" fmla="*/ 188 h 1041"/>
                  <a:gd name="T24" fmla="*/ 1036 w 1044"/>
                  <a:gd name="T25" fmla="*/ 186 h 1041"/>
                  <a:gd name="T26" fmla="*/ 1033 w 1044"/>
                  <a:gd name="T27" fmla="*/ 154 h 1041"/>
                  <a:gd name="T28" fmla="*/ 1033 w 1044"/>
                  <a:gd name="T29" fmla="*/ 154 h 1041"/>
                  <a:gd name="T30" fmla="*/ 1033 w 1044"/>
                  <a:gd name="T31" fmla="*/ 1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4" h="1041">
                    <a:moveTo>
                      <a:pt x="1033" y="154"/>
                    </a:moveTo>
                    <a:cubicBezTo>
                      <a:pt x="914" y="53"/>
                      <a:pt x="762" y="0"/>
                      <a:pt x="606" y="6"/>
                    </a:cubicBezTo>
                    <a:cubicBezTo>
                      <a:pt x="448" y="12"/>
                      <a:pt x="300" y="76"/>
                      <a:pt x="188" y="188"/>
                    </a:cubicBezTo>
                    <a:cubicBezTo>
                      <a:pt x="76" y="300"/>
                      <a:pt x="12" y="448"/>
                      <a:pt x="6" y="606"/>
                    </a:cubicBezTo>
                    <a:cubicBezTo>
                      <a:pt x="0" y="762"/>
                      <a:pt x="53" y="914"/>
                      <a:pt x="154" y="1033"/>
                    </a:cubicBezTo>
                    <a:cubicBezTo>
                      <a:pt x="159" y="1038"/>
                      <a:pt x="165" y="1041"/>
                      <a:pt x="171" y="1041"/>
                    </a:cubicBezTo>
                    <a:cubicBezTo>
                      <a:pt x="177" y="1041"/>
                      <a:pt x="182" y="1039"/>
                      <a:pt x="186" y="1036"/>
                    </a:cubicBezTo>
                    <a:cubicBezTo>
                      <a:pt x="195" y="1028"/>
                      <a:pt x="197" y="1013"/>
                      <a:pt x="188" y="1004"/>
                    </a:cubicBezTo>
                    <a:cubicBezTo>
                      <a:pt x="94" y="894"/>
                      <a:pt x="45" y="753"/>
                      <a:pt x="51" y="607"/>
                    </a:cubicBezTo>
                    <a:cubicBezTo>
                      <a:pt x="56" y="461"/>
                      <a:pt x="116" y="323"/>
                      <a:pt x="220" y="220"/>
                    </a:cubicBezTo>
                    <a:cubicBezTo>
                      <a:pt x="323" y="116"/>
                      <a:pt x="461" y="56"/>
                      <a:pt x="607" y="51"/>
                    </a:cubicBezTo>
                    <a:cubicBezTo>
                      <a:pt x="753" y="45"/>
                      <a:pt x="894" y="94"/>
                      <a:pt x="1004" y="188"/>
                    </a:cubicBezTo>
                    <a:cubicBezTo>
                      <a:pt x="1013" y="197"/>
                      <a:pt x="1028" y="195"/>
                      <a:pt x="1036" y="186"/>
                    </a:cubicBezTo>
                    <a:cubicBezTo>
                      <a:pt x="1044" y="177"/>
                      <a:pt x="1043" y="162"/>
                      <a:pt x="1033" y="154"/>
                    </a:cubicBezTo>
                    <a:close/>
                    <a:moveTo>
                      <a:pt x="1033" y="154"/>
                    </a:moveTo>
                    <a:cubicBezTo>
                      <a:pt x="1033" y="154"/>
                      <a:pt x="1033" y="154"/>
                      <a:pt x="1033" y="154"/>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27" name="Freeform 7"/>
              <p:cNvSpPr>
                <a:spLocks noEditPoints="1"/>
              </p:cNvSpPr>
              <p:nvPr/>
            </p:nvSpPr>
            <p:spPr bwMode="auto">
              <a:xfrm>
                <a:off x="4355776" y="4203453"/>
                <a:ext cx="292572" cy="289814"/>
              </a:xfrm>
              <a:custGeom>
                <a:avLst/>
                <a:gdLst>
                  <a:gd name="T0" fmla="*/ 890 w 1044"/>
                  <a:gd name="T1" fmla="*/ 11 h 1039"/>
                  <a:gd name="T2" fmla="*/ 858 w 1044"/>
                  <a:gd name="T3" fmla="*/ 8 h 1039"/>
                  <a:gd name="T4" fmla="*/ 856 w 1044"/>
                  <a:gd name="T5" fmla="*/ 40 h 1039"/>
                  <a:gd name="T6" fmla="*/ 993 w 1044"/>
                  <a:gd name="T7" fmla="*/ 437 h 1039"/>
                  <a:gd name="T8" fmla="*/ 824 w 1044"/>
                  <a:gd name="T9" fmla="*/ 824 h 1039"/>
                  <a:gd name="T10" fmla="*/ 437 w 1044"/>
                  <a:gd name="T11" fmla="*/ 993 h 1039"/>
                  <a:gd name="T12" fmla="*/ 40 w 1044"/>
                  <a:gd name="T13" fmla="*/ 856 h 1039"/>
                  <a:gd name="T14" fmla="*/ 8 w 1044"/>
                  <a:gd name="T15" fmla="*/ 858 h 1039"/>
                  <a:gd name="T16" fmla="*/ 11 w 1044"/>
                  <a:gd name="T17" fmla="*/ 890 h 1039"/>
                  <a:gd name="T18" fmla="*/ 415 w 1044"/>
                  <a:gd name="T19" fmla="*/ 1039 h 1039"/>
                  <a:gd name="T20" fmla="*/ 438 w 1044"/>
                  <a:gd name="T21" fmla="*/ 1038 h 1039"/>
                  <a:gd name="T22" fmla="*/ 856 w 1044"/>
                  <a:gd name="T23" fmla="*/ 856 h 1039"/>
                  <a:gd name="T24" fmla="*/ 1038 w 1044"/>
                  <a:gd name="T25" fmla="*/ 438 h 1039"/>
                  <a:gd name="T26" fmla="*/ 890 w 1044"/>
                  <a:gd name="T27" fmla="*/ 11 h 1039"/>
                  <a:gd name="T28" fmla="*/ 890 w 1044"/>
                  <a:gd name="T29" fmla="*/ 11 h 1039"/>
                  <a:gd name="T30" fmla="*/ 890 w 1044"/>
                  <a:gd name="T31" fmla="*/ 11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4" h="1039">
                    <a:moveTo>
                      <a:pt x="890" y="11"/>
                    </a:moveTo>
                    <a:cubicBezTo>
                      <a:pt x="882" y="1"/>
                      <a:pt x="868" y="0"/>
                      <a:pt x="858" y="8"/>
                    </a:cubicBezTo>
                    <a:cubicBezTo>
                      <a:pt x="849" y="16"/>
                      <a:pt x="847" y="31"/>
                      <a:pt x="856" y="40"/>
                    </a:cubicBezTo>
                    <a:cubicBezTo>
                      <a:pt x="950" y="150"/>
                      <a:pt x="999" y="291"/>
                      <a:pt x="993" y="437"/>
                    </a:cubicBezTo>
                    <a:cubicBezTo>
                      <a:pt x="988" y="583"/>
                      <a:pt x="928" y="721"/>
                      <a:pt x="824" y="824"/>
                    </a:cubicBezTo>
                    <a:cubicBezTo>
                      <a:pt x="721" y="928"/>
                      <a:pt x="583" y="988"/>
                      <a:pt x="437" y="993"/>
                    </a:cubicBezTo>
                    <a:cubicBezTo>
                      <a:pt x="291" y="999"/>
                      <a:pt x="150" y="950"/>
                      <a:pt x="40" y="856"/>
                    </a:cubicBezTo>
                    <a:cubicBezTo>
                      <a:pt x="31" y="847"/>
                      <a:pt x="16" y="849"/>
                      <a:pt x="8" y="858"/>
                    </a:cubicBezTo>
                    <a:cubicBezTo>
                      <a:pt x="0" y="867"/>
                      <a:pt x="1" y="882"/>
                      <a:pt x="11" y="890"/>
                    </a:cubicBezTo>
                    <a:cubicBezTo>
                      <a:pt x="124" y="986"/>
                      <a:pt x="267" y="1039"/>
                      <a:pt x="415" y="1039"/>
                    </a:cubicBezTo>
                    <a:cubicBezTo>
                      <a:pt x="423" y="1039"/>
                      <a:pt x="431" y="1038"/>
                      <a:pt x="438" y="1038"/>
                    </a:cubicBezTo>
                    <a:cubicBezTo>
                      <a:pt x="596" y="1032"/>
                      <a:pt x="744" y="968"/>
                      <a:pt x="856" y="856"/>
                    </a:cubicBezTo>
                    <a:cubicBezTo>
                      <a:pt x="968" y="744"/>
                      <a:pt x="1032" y="596"/>
                      <a:pt x="1038" y="438"/>
                    </a:cubicBezTo>
                    <a:cubicBezTo>
                      <a:pt x="1044" y="282"/>
                      <a:pt x="991" y="130"/>
                      <a:pt x="890" y="11"/>
                    </a:cubicBezTo>
                    <a:close/>
                    <a:moveTo>
                      <a:pt x="890" y="11"/>
                    </a:moveTo>
                    <a:cubicBezTo>
                      <a:pt x="890" y="11"/>
                      <a:pt x="890" y="11"/>
                      <a:pt x="890" y="11"/>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28" name="Freeform 8"/>
              <p:cNvSpPr>
                <a:spLocks noEditPoints="1"/>
              </p:cNvSpPr>
              <p:nvPr/>
            </p:nvSpPr>
            <p:spPr bwMode="auto">
              <a:xfrm>
                <a:off x="4363361" y="4265736"/>
                <a:ext cx="59755" cy="107100"/>
              </a:xfrm>
              <a:custGeom>
                <a:avLst/>
                <a:gdLst>
                  <a:gd name="T0" fmla="*/ 191 w 213"/>
                  <a:gd name="T1" fmla="*/ 2 h 384"/>
                  <a:gd name="T2" fmla="*/ 168 w 213"/>
                  <a:gd name="T3" fmla="*/ 24 h 384"/>
                  <a:gd name="T4" fmla="*/ 168 w 213"/>
                  <a:gd name="T5" fmla="*/ 266 h 384"/>
                  <a:gd name="T6" fmla="*/ 43 w 213"/>
                  <a:gd name="T7" fmla="*/ 14 h 384"/>
                  <a:gd name="T8" fmla="*/ 17 w 213"/>
                  <a:gd name="T9" fmla="*/ 2 h 384"/>
                  <a:gd name="T10" fmla="*/ 0 w 213"/>
                  <a:gd name="T11" fmla="*/ 24 h 384"/>
                  <a:gd name="T12" fmla="*/ 0 w 213"/>
                  <a:gd name="T13" fmla="*/ 361 h 384"/>
                  <a:gd name="T14" fmla="*/ 22 w 213"/>
                  <a:gd name="T15" fmla="*/ 384 h 384"/>
                  <a:gd name="T16" fmla="*/ 45 w 213"/>
                  <a:gd name="T17" fmla="*/ 361 h 384"/>
                  <a:gd name="T18" fmla="*/ 45 w 213"/>
                  <a:gd name="T19" fmla="*/ 120 h 384"/>
                  <a:gd name="T20" fmla="*/ 171 w 213"/>
                  <a:gd name="T21" fmla="*/ 371 h 384"/>
                  <a:gd name="T22" fmla="*/ 191 w 213"/>
                  <a:gd name="T23" fmla="*/ 384 h 384"/>
                  <a:gd name="T24" fmla="*/ 196 w 213"/>
                  <a:gd name="T25" fmla="*/ 383 h 384"/>
                  <a:gd name="T26" fmla="*/ 213 w 213"/>
                  <a:gd name="T27" fmla="*/ 361 h 384"/>
                  <a:gd name="T28" fmla="*/ 213 w 213"/>
                  <a:gd name="T29" fmla="*/ 24 h 384"/>
                  <a:gd name="T30" fmla="*/ 191 w 213"/>
                  <a:gd name="T31" fmla="*/ 2 h 384"/>
                  <a:gd name="T32" fmla="*/ 191 w 213"/>
                  <a:gd name="T33" fmla="*/ 2 h 384"/>
                  <a:gd name="T34" fmla="*/ 191 w 213"/>
                  <a:gd name="T35" fmla="*/ 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384">
                    <a:moveTo>
                      <a:pt x="191" y="2"/>
                    </a:moveTo>
                    <a:cubicBezTo>
                      <a:pt x="178" y="2"/>
                      <a:pt x="168" y="12"/>
                      <a:pt x="168" y="24"/>
                    </a:cubicBezTo>
                    <a:cubicBezTo>
                      <a:pt x="168" y="266"/>
                      <a:pt x="168" y="266"/>
                      <a:pt x="168" y="266"/>
                    </a:cubicBezTo>
                    <a:cubicBezTo>
                      <a:pt x="43" y="14"/>
                      <a:pt x="43" y="14"/>
                      <a:pt x="43" y="14"/>
                    </a:cubicBezTo>
                    <a:cubicBezTo>
                      <a:pt x="38" y="5"/>
                      <a:pt x="27" y="0"/>
                      <a:pt x="17" y="2"/>
                    </a:cubicBezTo>
                    <a:cubicBezTo>
                      <a:pt x="7" y="5"/>
                      <a:pt x="0" y="14"/>
                      <a:pt x="0" y="24"/>
                    </a:cubicBezTo>
                    <a:cubicBezTo>
                      <a:pt x="0" y="361"/>
                      <a:pt x="0" y="361"/>
                      <a:pt x="0" y="361"/>
                    </a:cubicBezTo>
                    <a:cubicBezTo>
                      <a:pt x="0" y="373"/>
                      <a:pt x="10" y="384"/>
                      <a:pt x="22" y="384"/>
                    </a:cubicBezTo>
                    <a:cubicBezTo>
                      <a:pt x="35" y="384"/>
                      <a:pt x="45" y="373"/>
                      <a:pt x="45" y="361"/>
                    </a:cubicBezTo>
                    <a:cubicBezTo>
                      <a:pt x="45" y="120"/>
                      <a:pt x="45" y="120"/>
                      <a:pt x="45" y="120"/>
                    </a:cubicBezTo>
                    <a:cubicBezTo>
                      <a:pt x="171" y="371"/>
                      <a:pt x="171" y="371"/>
                      <a:pt x="171" y="371"/>
                    </a:cubicBezTo>
                    <a:cubicBezTo>
                      <a:pt x="175" y="379"/>
                      <a:pt x="182" y="384"/>
                      <a:pt x="191" y="384"/>
                    </a:cubicBezTo>
                    <a:cubicBezTo>
                      <a:pt x="192" y="384"/>
                      <a:pt x="194" y="383"/>
                      <a:pt x="196" y="383"/>
                    </a:cubicBezTo>
                    <a:cubicBezTo>
                      <a:pt x="206" y="381"/>
                      <a:pt x="213" y="372"/>
                      <a:pt x="213" y="361"/>
                    </a:cubicBezTo>
                    <a:cubicBezTo>
                      <a:pt x="213" y="24"/>
                      <a:pt x="213" y="24"/>
                      <a:pt x="213" y="24"/>
                    </a:cubicBezTo>
                    <a:cubicBezTo>
                      <a:pt x="213" y="12"/>
                      <a:pt x="203" y="2"/>
                      <a:pt x="191" y="2"/>
                    </a:cubicBezTo>
                    <a:close/>
                    <a:moveTo>
                      <a:pt x="191" y="2"/>
                    </a:moveTo>
                    <a:cubicBezTo>
                      <a:pt x="191" y="2"/>
                      <a:pt x="191" y="2"/>
                      <a:pt x="191" y="2"/>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sp>
            <p:nvSpPr>
              <p:cNvPr id="29" name="Freeform 9"/>
              <p:cNvSpPr>
                <a:spLocks noEditPoints="1"/>
              </p:cNvSpPr>
              <p:nvPr/>
            </p:nvSpPr>
            <p:spPr bwMode="auto">
              <a:xfrm>
                <a:off x="4437365" y="4266196"/>
                <a:ext cx="53090" cy="106640"/>
              </a:xfrm>
              <a:custGeom>
                <a:avLst/>
                <a:gdLst>
                  <a:gd name="T0" fmla="*/ 167 w 190"/>
                  <a:gd name="T1" fmla="*/ 337 h 382"/>
                  <a:gd name="T2" fmla="*/ 45 w 190"/>
                  <a:gd name="T3" fmla="*/ 337 h 382"/>
                  <a:gd name="T4" fmla="*/ 45 w 190"/>
                  <a:gd name="T5" fmla="*/ 213 h 382"/>
                  <a:gd name="T6" fmla="*/ 119 w 190"/>
                  <a:gd name="T7" fmla="*/ 213 h 382"/>
                  <a:gd name="T8" fmla="*/ 142 w 190"/>
                  <a:gd name="T9" fmla="*/ 191 h 382"/>
                  <a:gd name="T10" fmla="*/ 119 w 190"/>
                  <a:gd name="T11" fmla="*/ 168 h 382"/>
                  <a:gd name="T12" fmla="*/ 45 w 190"/>
                  <a:gd name="T13" fmla="*/ 168 h 382"/>
                  <a:gd name="T14" fmla="*/ 45 w 190"/>
                  <a:gd name="T15" fmla="*/ 45 h 382"/>
                  <a:gd name="T16" fmla="*/ 167 w 190"/>
                  <a:gd name="T17" fmla="*/ 45 h 382"/>
                  <a:gd name="T18" fmla="*/ 190 w 190"/>
                  <a:gd name="T19" fmla="*/ 22 h 382"/>
                  <a:gd name="T20" fmla="*/ 167 w 190"/>
                  <a:gd name="T21" fmla="*/ 0 h 382"/>
                  <a:gd name="T22" fmla="*/ 23 w 190"/>
                  <a:gd name="T23" fmla="*/ 0 h 382"/>
                  <a:gd name="T24" fmla="*/ 0 w 190"/>
                  <a:gd name="T25" fmla="*/ 22 h 382"/>
                  <a:gd name="T26" fmla="*/ 0 w 190"/>
                  <a:gd name="T27" fmla="*/ 359 h 382"/>
                  <a:gd name="T28" fmla="*/ 23 w 190"/>
                  <a:gd name="T29" fmla="*/ 382 h 382"/>
                  <a:gd name="T30" fmla="*/ 167 w 190"/>
                  <a:gd name="T31" fmla="*/ 382 h 382"/>
                  <a:gd name="T32" fmla="*/ 190 w 190"/>
                  <a:gd name="T33" fmla="*/ 359 h 382"/>
                  <a:gd name="T34" fmla="*/ 167 w 190"/>
                  <a:gd name="T35" fmla="*/ 337 h 382"/>
                  <a:gd name="T36" fmla="*/ 167 w 190"/>
                  <a:gd name="T37" fmla="*/ 337 h 382"/>
                  <a:gd name="T38" fmla="*/ 167 w 190"/>
                  <a:gd name="T39" fmla="*/ 33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382">
                    <a:moveTo>
                      <a:pt x="167" y="337"/>
                    </a:moveTo>
                    <a:cubicBezTo>
                      <a:pt x="45" y="337"/>
                      <a:pt x="45" y="337"/>
                      <a:pt x="45" y="337"/>
                    </a:cubicBezTo>
                    <a:cubicBezTo>
                      <a:pt x="45" y="213"/>
                      <a:pt x="45" y="213"/>
                      <a:pt x="45" y="213"/>
                    </a:cubicBezTo>
                    <a:cubicBezTo>
                      <a:pt x="119" y="213"/>
                      <a:pt x="119" y="213"/>
                      <a:pt x="119" y="213"/>
                    </a:cubicBezTo>
                    <a:cubicBezTo>
                      <a:pt x="132" y="213"/>
                      <a:pt x="142" y="203"/>
                      <a:pt x="142" y="191"/>
                    </a:cubicBezTo>
                    <a:cubicBezTo>
                      <a:pt x="142" y="178"/>
                      <a:pt x="132" y="168"/>
                      <a:pt x="119" y="168"/>
                    </a:cubicBezTo>
                    <a:cubicBezTo>
                      <a:pt x="45" y="168"/>
                      <a:pt x="45" y="168"/>
                      <a:pt x="45" y="168"/>
                    </a:cubicBezTo>
                    <a:cubicBezTo>
                      <a:pt x="45" y="45"/>
                      <a:pt x="45" y="45"/>
                      <a:pt x="45" y="45"/>
                    </a:cubicBezTo>
                    <a:cubicBezTo>
                      <a:pt x="167" y="45"/>
                      <a:pt x="167" y="45"/>
                      <a:pt x="167" y="45"/>
                    </a:cubicBezTo>
                    <a:cubicBezTo>
                      <a:pt x="180" y="45"/>
                      <a:pt x="190" y="35"/>
                      <a:pt x="190" y="22"/>
                    </a:cubicBezTo>
                    <a:cubicBezTo>
                      <a:pt x="190" y="10"/>
                      <a:pt x="180" y="0"/>
                      <a:pt x="167" y="0"/>
                    </a:cubicBezTo>
                    <a:cubicBezTo>
                      <a:pt x="23" y="0"/>
                      <a:pt x="23" y="0"/>
                      <a:pt x="23" y="0"/>
                    </a:cubicBezTo>
                    <a:cubicBezTo>
                      <a:pt x="11" y="0"/>
                      <a:pt x="0" y="10"/>
                      <a:pt x="0" y="22"/>
                    </a:cubicBezTo>
                    <a:cubicBezTo>
                      <a:pt x="0" y="359"/>
                      <a:pt x="0" y="359"/>
                      <a:pt x="0" y="359"/>
                    </a:cubicBezTo>
                    <a:cubicBezTo>
                      <a:pt x="0" y="371"/>
                      <a:pt x="11" y="382"/>
                      <a:pt x="23" y="382"/>
                    </a:cubicBezTo>
                    <a:cubicBezTo>
                      <a:pt x="167" y="382"/>
                      <a:pt x="167" y="382"/>
                      <a:pt x="167" y="382"/>
                    </a:cubicBezTo>
                    <a:cubicBezTo>
                      <a:pt x="180" y="382"/>
                      <a:pt x="190" y="371"/>
                      <a:pt x="190" y="359"/>
                    </a:cubicBezTo>
                    <a:cubicBezTo>
                      <a:pt x="190" y="347"/>
                      <a:pt x="180" y="337"/>
                      <a:pt x="167" y="337"/>
                    </a:cubicBezTo>
                    <a:close/>
                    <a:moveTo>
                      <a:pt x="167" y="337"/>
                    </a:moveTo>
                    <a:cubicBezTo>
                      <a:pt x="167" y="337"/>
                      <a:pt x="167" y="337"/>
                      <a:pt x="167" y="337"/>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sp>
            <p:nvSpPr>
              <p:cNvPr id="30" name="Freeform 10"/>
              <p:cNvSpPr>
                <a:spLocks noEditPoints="1"/>
              </p:cNvSpPr>
              <p:nvPr/>
            </p:nvSpPr>
            <p:spPr bwMode="auto">
              <a:xfrm>
                <a:off x="4497580" y="4265736"/>
                <a:ext cx="94689" cy="107100"/>
              </a:xfrm>
              <a:custGeom>
                <a:avLst/>
                <a:gdLst>
                  <a:gd name="T0" fmla="*/ 318 w 338"/>
                  <a:gd name="T1" fmla="*/ 2 h 384"/>
                  <a:gd name="T2" fmla="*/ 291 w 338"/>
                  <a:gd name="T3" fmla="*/ 20 h 384"/>
                  <a:gd name="T4" fmla="*/ 241 w 338"/>
                  <a:gd name="T5" fmla="*/ 254 h 384"/>
                  <a:gd name="T6" fmla="*/ 191 w 338"/>
                  <a:gd name="T7" fmla="*/ 20 h 384"/>
                  <a:gd name="T8" fmla="*/ 169 w 338"/>
                  <a:gd name="T9" fmla="*/ 2 h 384"/>
                  <a:gd name="T10" fmla="*/ 147 w 338"/>
                  <a:gd name="T11" fmla="*/ 20 h 384"/>
                  <a:gd name="T12" fmla="*/ 97 w 338"/>
                  <a:gd name="T13" fmla="*/ 254 h 384"/>
                  <a:gd name="T14" fmla="*/ 46 w 338"/>
                  <a:gd name="T15" fmla="*/ 20 h 384"/>
                  <a:gd name="T16" fmla="*/ 20 w 338"/>
                  <a:gd name="T17" fmla="*/ 2 h 384"/>
                  <a:gd name="T18" fmla="*/ 2 w 338"/>
                  <a:gd name="T19" fmla="*/ 29 h 384"/>
                  <a:gd name="T20" fmla="*/ 75 w 338"/>
                  <a:gd name="T21" fmla="*/ 366 h 384"/>
                  <a:gd name="T22" fmla="*/ 97 w 338"/>
                  <a:gd name="T23" fmla="*/ 384 h 384"/>
                  <a:gd name="T24" fmla="*/ 119 w 338"/>
                  <a:gd name="T25" fmla="*/ 366 h 384"/>
                  <a:gd name="T26" fmla="*/ 169 w 338"/>
                  <a:gd name="T27" fmla="*/ 132 h 384"/>
                  <a:gd name="T28" fmla="*/ 219 w 338"/>
                  <a:gd name="T29" fmla="*/ 366 h 384"/>
                  <a:gd name="T30" fmla="*/ 241 w 338"/>
                  <a:gd name="T31" fmla="*/ 384 h 384"/>
                  <a:gd name="T32" fmla="*/ 263 w 338"/>
                  <a:gd name="T33" fmla="*/ 366 h 384"/>
                  <a:gd name="T34" fmla="*/ 335 w 338"/>
                  <a:gd name="T35" fmla="*/ 29 h 384"/>
                  <a:gd name="T36" fmla="*/ 318 w 338"/>
                  <a:gd name="T37" fmla="*/ 2 h 384"/>
                  <a:gd name="T38" fmla="*/ 318 w 338"/>
                  <a:gd name="T39" fmla="*/ 2 h 384"/>
                  <a:gd name="T40" fmla="*/ 318 w 338"/>
                  <a:gd name="T41" fmla="*/ 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384">
                    <a:moveTo>
                      <a:pt x="318" y="2"/>
                    </a:moveTo>
                    <a:cubicBezTo>
                      <a:pt x="306" y="0"/>
                      <a:pt x="294" y="8"/>
                      <a:pt x="291" y="20"/>
                    </a:cubicBezTo>
                    <a:cubicBezTo>
                      <a:pt x="241" y="254"/>
                      <a:pt x="241" y="254"/>
                      <a:pt x="241" y="254"/>
                    </a:cubicBezTo>
                    <a:cubicBezTo>
                      <a:pt x="191" y="20"/>
                      <a:pt x="191" y="20"/>
                      <a:pt x="191" y="20"/>
                    </a:cubicBezTo>
                    <a:cubicBezTo>
                      <a:pt x="188" y="9"/>
                      <a:pt x="179" y="2"/>
                      <a:pt x="169" y="2"/>
                    </a:cubicBezTo>
                    <a:cubicBezTo>
                      <a:pt x="158" y="2"/>
                      <a:pt x="149" y="9"/>
                      <a:pt x="147" y="20"/>
                    </a:cubicBezTo>
                    <a:cubicBezTo>
                      <a:pt x="97" y="254"/>
                      <a:pt x="97" y="254"/>
                      <a:pt x="97" y="254"/>
                    </a:cubicBezTo>
                    <a:cubicBezTo>
                      <a:pt x="46" y="20"/>
                      <a:pt x="46" y="20"/>
                      <a:pt x="46" y="20"/>
                    </a:cubicBezTo>
                    <a:cubicBezTo>
                      <a:pt x="44" y="8"/>
                      <a:pt x="32" y="0"/>
                      <a:pt x="20" y="2"/>
                    </a:cubicBezTo>
                    <a:cubicBezTo>
                      <a:pt x="8" y="5"/>
                      <a:pt x="0" y="17"/>
                      <a:pt x="2" y="29"/>
                    </a:cubicBezTo>
                    <a:cubicBezTo>
                      <a:pt x="75" y="366"/>
                      <a:pt x="75" y="366"/>
                      <a:pt x="75" y="366"/>
                    </a:cubicBezTo>
                    <a:cubicBezTo>
                      <a:pt x="77" y="376"/>
                      <a:pt x="86" y="384"/>
                      <a:pt x="97" y="384"/>
                    </a:cubicBezTo>
                    <a:cubicBezTo>
                      <a:pt x="107" y="384"/>
                      <a:pt x="116" y="376"/>
                      <a:pt x="119" y="366"/>
                    </a:cubicBezTo>
                    <a:cubicBezTo>
                      <a:pt x="169" y="132"/>
                      <a:pt x="169" y="132"/>
                      <a:pt x="169" y="132"/>
                    </a:cubicBezTo>
                    <a:cubicBezTo>
                      <a:pt x="219" y="366"/>
                      <a:pt x="219" y="366"/>
                      <a:pt x="219" y="366"/>
                    </a:cubicBezTo>
                    <a:cubicBezTo>
                      <a:pt x="221" y="376"/>
                      <a:pt x="230" y="384"/>
                      <a:pt x="241" y="384"/>
                    </a:cubicBezTo>
                    <a:cubicBezTo>
                      <a:pt x="251" y="384"/>
                      <a:pt x="261" y="376"/>
                      <a:pt x="263" y="366"/>
                    </a:cubicBezTo>
                    <a:cubicBezTo>
                      <a:pt x="335" y="29"/>
                      <a:pt x="335" y="29"/>
                      <a:pt x="335" y="29"/>
                    </a:cubicBezTo>
                    <a:cubicBezTo>
                      <a:pt x="338" y="17"/>
                      <a:pt x="330" y="5"/>
                      <a:pt x="318" y="2"/>
                    </a:cubicBezTo>
                    <a:close/>
                    <a:moveTo>
                      <a:pt x="318" y="2"/>
                    </a:moveTo>
                    <a:cubicBezTo>
                      <a:pt x="318" y="2"/>
                      <a:pt x="318" y="2"/>
                      <a:pt x="318" y="2"/>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grpSp>
      </p:grpSp>
      <p:pic>
        <p:nvPicPr>
          <p:cNvPr id="31" name="Image 30"/>
          <p:cNvPicPr>
            <a:picLocks noChangeAspect="1"/>
          </p:cNvPicPr>
          <p:nvPr/>
        </p:nvPicPr>
        <p:blipFill>
          <a:blip r:embed="rId3"/>
          <a:stretch>
            <a:fillRect/>
          </a:stretch>
        </p:blipFill>
        <p:spPr>
          <a:xfrm>
            <a:off x="484976" y="3012024"/>
            <a:ext cx="5132954" cy="1596565"/>
          </a:xfrm>
          <a:prstGeom prst="rect">
            <a:avLst/>
          </a:prstGeom>
          <a:ln>
            <a:solidFill>
              <a:schemeClr val="tx1"/>
            </a:solidFill>
          </a:ln>
        </p:spPr>
      </p:pic>
      <p:sp>
        <p:nvSpPr>
          <p:cNvPr id="2" name="Rectangle 1"/>
          <p:cNvSpPr/>
          <p:nvPr/>
        </p:nvSpPr>
        <p:spPr>
          <a:xfrm>
            <a:off x="1075109" y="2498862"/>
            <a:ext cx="3702167" cy="369332"/>
          </a:xfrm>
          <a:prstGeom prst="rect">
            <a:avLst/>
          </a:prstGeom>
        </p:spPr>
        <p:txBody>
          <a:bodyPr wrap="none">
            <a:spAutoFit/>
          </a:bodyPr>
          <a:lstStyle/>
          <a:p>
            <a:r>
              <a:rPr lang="fr-FR">
                <a:hlinkClick r:id="rId4"/>
              </a:rPr>
              <a:t>Mon espace santé | esante.gouv.fr</a:t>
            </a:r>
            <a:endParaRPr lang="fr-FR"/>
          </a:p>
        </p:txBody>
      </p:sp>
      <p:sp>
        <p:nvSpPr>
          <p:cNvPr id="19" name="ZoneTexte 18"/>
          <p:cNvSpPr txBox="1"/>
          <p:nvPr/>
        </p:nvSpPr>
        <p:spPr>
          <a:xfrm>
            <a:off x="7514799" y="1821626"/>
            <a:ext cx="3477253" cy="3795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defTabSz="2438338" rtl="0" fontAlgn="auto" latinLnBrk="0" hangingPunct="0">
              <a:lnSpc>
                <a:spcPct val="100000"/>
              </a:lnSpc>
              <a:spcBef>
                <a:spcPts val="0"/>
              </a:spcBef>
              <a:spcAft>
                <a:spcPts val="0"/>
              </a:spcAft>
              <a:buClrTx/>
              <a:buSzTx/>
              <a:buFontTx/>
              <a:buNone/>
              <a:tabLst/>
            </a:pPr>
            <a:r>
              <a:rPr kumimoji="0" lang="fr-FR" b="1" i="0" u="none" strike="noStrike" cap="none" spc="0" normalizeH="0" baseline="0">
                <a:ln>
                  <a:noFill/>
                </a:ln>
                <a:solidFill>
                  <a:srgbClr val="DF2680"/>
                </a:solidFill>
                <a:effectLst/>
                <a:uFillTx/>
                <a:sym typeface="Helvetica Neue"/>
              </a:rPr>
              <a:t>De</a:t>
            </a:r>
            <a:r>
              <a:rPr kumimoji="0" lang="fr-FR" b="1" i="0" u="none" strike="noStrike" cap="none" spc="0" normalizeH="0">
                <a:ln>
                  <a:noFill/>
                </a:ln>
                <a:solidFill>
                  <a:srgbClr val="DF2680"/>
                </a:solidFill>
                <a:effectLst/>
                <a:uFillTx/>
                <a:sym typeface="Helvetica Neue"/>
              </a:rPr>
              <a:t> nouveaux outils à diffuser</a:t>
            </a:r>
            <a:endParaRPr kumimoji="0" lang="fr-FR" b="1" i="0" u="none" strike="noStrike" cap="none" spc="0" normalizeH="0" baseline="0">
              <a:ln>
                <a:noFill/>
              </a:ln>
              <a:solidFill>
                <a:srgbClr val="DF2680"/>
              </a:solidFill>
              <a:effectLst/>
              <a:uFillTx/>
              <a:sym typeface="Helvetica Neue"/>
            </a:endParaRPr>
          </a:p>
        </p:txBody>
      </p:sp>
      <p:grpSp>
        <p:nvGrpSpPr>
          <p:cNvPr id="34" name="Groupe 33"/>
          <p:cNvGrpSpPr/>
          <p:nvPr/>
        </p:nvGrpSpPr>
        <p:grpSpPr>
          <a:xfrm>
            <a:off x="6556781" y="1683148"/>
            <a:ext cx="884053" cy="681089"/>
            <a:chOff x="7075952" y="1848892"/>
            <a:chExt cx="884053" cy="681089"/>
          </a:xfrm>
        </p:grpSpPr>
        <p:sp>
          <p:nvSpPr>
            <p:cNvPr id="35" name="Rectangle avec coins arrondis en diagonale 34"/>
            <p:cNvSpPr/>
            <p:nvPr/>
          </p:nvSpPr>
          <p:spPr>
            <a:xfrm>
              <a:off x="7075952" y="1848892"/>
              <a:ext cx="884053" cy="681089"/>
            </a:xfrm>
            <a:prstGeom prst="round2DiagRect">
              <a:avLst/>
            </a:prstGeom>
            <a:solidFill>
              <a:srgbClr val="FFD9E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36" name="Rectangle avec coins arrondis en diagonale 35"/>
            <p:cNvSpPr/>
            <p:nvPr/>
          </p:nvSpPr>
          <p:spPr>
            <a:xfrm>
              <a:off x="7149917" y="1893166"/>
              <a:ext cx="736122" cy="592355"/>
            </a:xfrm>
            <a:prstGeom prst="round2Diag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nvGrpSpPr>
            <p:cNvPr id="37" name="Groupe 36"/>
            <p:cNvGrpSpPr/>
            <p:nvPr/>
          </p:nvGrpSpPr>
          <p:grpSpPr>
            <a:xfrm>
              <a:off x="7301709" y="1970828"/>
              <a:ext cx="432537" cy="430698"/>
              <a:chOff x="4255801" y="4103937"/>
              <a:chExt cx="432537" cy="430698"/>
            </a:xfrm>
          </p:grpSpPr>
          <p:sp>
            <p:nvSpPr>
              <p:cNvPr id="38" name="Freeform 5"/>
              <p:cNvSpPr>
                <a:spLocks noEditPoints="1"/>
              </p:cNvSpPr>
              <p:nvPr/>
            </p:nvSpPr>
            <p:spPr bwMode="auto">
              <a:xfrm>
                <a:off x="4255801" y="4103937"/>
                <a:ext cx="432537" cy="430698"/>
              </a:xfrm>
              <a:custGeom>
                <a:avLst/>
                <a:gdLst>
                  <a:gd name="T0" fmla="*/ 1512 w 1544"/>
                  <a:gd name="T1" fmla="*/ 735 h 1544"/>
                  <a:gd name="T2" fmla="*/ 1487 w 1544"/>
                  <a:gd name="T3" fmla="*/ 579 h 1544"/>
                  <a:gd name="T4" fmla="*/ 1464 w 1544"/>
                  <a:gd name="T5" fmla="*/ 420 h 1544"/>
                  <a:gd name="T6" fmla="*/ 1349 w 1544"/>
                  <a:gd name="T7" fmla="*/ 307 h 1544"/>
                  <a:gd name="T8" fmla="*/ 1237 w 1544"/>
                  <a:gd name="T9" fmla="*/ 195 h 1544"/>
                  <a:gd name="T10" fmla="*/ 1124 w 1544"/>
                  <a:gd name="T11" fmla="*/ 80 h 1544"/>
                  <a:gd name="T12" fmla="*/ 965 w 1544"/>
                  <a:gd name="T13" fmla="*/ 57 h 1544"/>
                  <a:gd name="T14" fmla="*/ 809 w 1544"/>
                  <a:gd name="T15" fmla="*/ 32 h 1544"/>
                  <a:gd name="T16" fmla="*/ 651 w 1544"/>
                  <a:gd name="T17" fmla="*/ 5 h 1544"/>
                  <a:gd name="T18" fmla="*/ 508 w 1544"/>
                  <a:gd name="T19" fmla="*/ 80 h 1544"/>
                  <a:gd name="T20" fmla="*/ 367 w 1544"/>
                  <a:gd name="T21" fmla="*/ 152 h 1544"/>
                  <a:gd name="T22" fmla="*/ 223 w 1544"/>
                  <a:gd name="T23" fmla="*/ 223 h 1544"/>
                  <a:gd name="T24" fmla="*/ 152 w 1544"/>
                  <a:gd name="T25" fmla="*/ 367 h 1544"/>
                  <a:gd name="T26" fmla="*/ 80 w 1544"/>
                  <a:gd name="T27" fmla="*/ 508 h 1544"/>
                  <a:gd name="T28" fmla="*/ 5 w 1544"/>
                  <a:gd name="T29" fmla="*/ 651 h 1544"/>
                  <a:gd name="T30" fmla="*/ 32 w 1544"/>
                  <a:gd name="T31" fmla="*/ 809 h 1544"/>
                  <a:gd name="T32" fmla="*/ 57 w 1544"/>
                  <a:gd name="T33" fmla="*/ 965 h 1544"/>
                  <a:gd name="T34" fmla="*/ 80 w 1544"/>
                  <a:gd name="T35" fmla="*/ 1124 h 1544"/>
                  <a:gd name="T36" fmla="*/ 195 w 1544"/>
                  <a:gd name="T37" fmla="*/ 1237 h 1544"/>
                  <a:gd name="T38" fmla="*/ 307 w 1544"/>
                  <a:gd name="T39" fmla="*/ 1349 h 1544"/>
                  <a:gd name="T40" fmla="*/ 420 w 1544"/>
                  <a:gd name="T41" fmla="*/ 1464 h 1544"/>
                  <a:gd name="T42" fmla="*/ 579 w 1544"/>
                  <a:gd name="T43" fmla="*/ 1487 h 1544"/>
                  <a:gd name="T44" fmla="*/ 735 w 1544"/>
                  <a:gd name="T45" fmla="*/ 1512 h 1544"/>
                  <a:gd name="T46" fmla="*/ 878 w 1544"/>
                  <a:gd name="T47" fmla="*/ 1540 h 1544"/>
                  <a:gd name="T48" fmla="*/ 965 w 1544"/>
                  <a:gd name="T49" fmla="*/ 1487 h 1544"/>
                  <a:gd name="T50" fmla="*/ 1124 w 1544"/>
                  <a:gd name="T51" fmla="*/ 1464 h 1544"/>
                  <a:gd name="T52" fmla="*/ 1237 w 1544"/>
                  <a:gd name="T53" fmla="*/ 1349 h 1544"/>
                  <a:gd name="T54" fmla="*/ 1349 w 1544"/>
                  <a:gd name="T55" fmla="*/ 1237 h 1544"/>
                  <a:gd name="T56" fmla="*/ 1464 w 1544"/>
                  <a:gd name="T57" fmla="*/ 1124 h 1544"/>
                  <a:gd name="T58" fmla="*/ 1487 w 1544"/>
                  <a:gd name="T59" fmla="*/ 965 h 1544"/>
                  <a:gd name="T60" fmla="*/ 1512 w 1544"/>
                  <a:gd name="T61" fmla="*/ 809 h 1544"/>
                  <a:gd name="T62" fmla="*/ 1494 w 1544"/>
                  <a:gd name="T63" fmla="*/ 886 h 1544"/>
                  <a:gd name="T64" fmla="*/ 1424 w 1544"/>
                  <a:gd name="T65" fmla="*/ 1056 h 1544"/>
                  <a:gd name="T66" fmla="*/ 1385 w 1544"/>
                  <a:gd name="T67" fmla="*/ 1132 h 1544"/>
                  <a:gd name="T68" fmla="*/ 1289 w 1544"/>
                  <a:gd name="T69" fmla="*/ 1289 h 1544"/>
                  <a:gd name="T70" fmla="*/ 1132 w 1544"/>
                  <a:gd name="T71" fmla="*/ 1385 h 1544"/>
                  <a:gd name="T72" fmla="*/ 1056 w 1544"/>
                  <a:gd name="T73" fmla="*/ 1424 h 1544"/>
                  <a:gd name="T74" fmla="*/ 886 w 1544"/>
                  <a:gd name="T75" fmla="*/ 1494 h 1544"/>
                  <a:gd name="T76" fmla="*/ 772 w 1544"/>
                  <a:gd name="T77" fmla="*/ 1452 h 1544"/>
                  <a:gd name="T78" fmla="*/ 658 w 1544"/>
                  <a:gd name="T79" fmla="*/ 1494 h 1544"/>
                  <a:gd name="T80" fmla="*/ 488 w 1544"/>
                  <a:gd name="T81" fmla="*/ 1424 h 1544"/>
                  <a:gd name="T82" fmla="*/ 412 w 1544"/>
                  <a:gd name="T83" fmla="*/ 1385 h 1544"/>
                  <a:gd name="T84" fmla="*/ 255 w 1544"/>
                  <a:gd name="T85" fmla="*/ 1289 h 1544"/>
                  <a:gd name="T86" fmla="*/ 159 w 1544"/>
                  <a:gd name="T87" fmla="*/ 1132 h 1544"/>
                  <a:gd name="T88" fmla="*/ 120 w 1544"/>
                  <a:gd name="T89" fmla="*/ 1056 h 1544"/>
                  <a:gd name="T90" fmla="*/ 50 w 1544"/>
                  <a:gd name="T91" fmla="*/ 886 h 1544"/>
                  <a:gd name="T92" fmla="*/ 64 w 1544"/>
                  <a:gd name="T93" fmla="*/ 703 h 1544"/>
                  <a:gd name="T94" fmla="*/ 78 w 1544"/>
                  <a:gd name="T95" fmla="*/ 619 h 1544"/>
                  <a:gd name="T96" fmla="*/ 120 w 1544"/>
                  <a:gd name="T97" fmla="*/ 440 h 1544"/>
                  <a:gd name="T98" fmla="*/ 240 w 1544"/>
                  <a:gd name="T99" fmla="*/ 300 h 1544"/>
                  <a:gd name="T100" fmla="*/ 300 w 1544"/>
                  <a:gd name="T101" fmla="*/ 240 h 1544"/>
                  <a:gd name="T102" fmla="*/ 440 w 1544"/>
                  <a:gd name="T103" fmla="*/ 120 h 1544"/>
                  <a:gd name="T104" fmla="*/ 619 w 1544"/>
                  <a:gd name="T105" fmla="*/ 78 h 1544"/>
                  <a:gd name="T106" fmla="*/ 703 w 1544"/>
                  <a:gd name="T107" fmla="*/ 64 h 1544"/>
                  <a:gd name="T108" fmla="*/ 886 w 1544"/>
                  <a:gd name="T109" fmla="*/ 50 h 1544"/>
                  <a:gd name="T110" fmla="*/ 1056 w 1544"/>
                  <a:gd name="T111" fmla="*/ 120 h 1544"/>
                  <a:gd name="T112" fmla="*/ 1132 w 1544"/>
                  <a:gd name="T113" fmla="*/ 159 h 1544"/>
                  <a:gd name="T114" fmla="*/ 1289 w 1544"/>
                  <a:gd name="T115" fmla="*/ 255 h 1544"/>
                  <a:gd name="T116" fmla="*/ 1385 w 1544"/>
                  <a:gd name="T117" fmla="*/ 412 h 1544"/>
                  <a:gd name="T118" fmla="*/ 1424 w 1544"/>
                  <a:gd name="T119" fmla="*/ 488 h 1544"/>
                  <a:gd name="T120" fmla="*/ 1494 w 1544"/>
                  <a:gd name="T121" fmla="*/ 658 h 1544"/>
                  <a:gd name="T122" fmla="*/ 1480 w 1544"/>
                  <a:gd name="T123" fmla="*/ 841 h 1544"/>
                  <a:gd name="T124" fmla="*/ 1480 w 1544"/>
                  <a:gd name="T125" fmla="*/ 841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4" h="1544">
                    <a:moveTo>
                      <a:pt x="1512" y="809"/>
                    </a:moveTo>
                    <a:cubicBezTo>
                      <a:pt x="1491" y="789"/>
                      <a:pt x="1491" y="755"/>
                      <a:pt x="1512" y="735"/>
                    </a:cubicBezTo>
                    <a:cubicBezTo>
                      <a:pt x="1534" y="712"/>
                      <a:pt x="1544" y="682"/>
                      <a:pt x="1539" y="651"/>
                    </a:cubicBezTo>
                    <a:cubicBezTo>
                      <a:pt x="1534" y="619"/>
                      <a:pt x="1515" y="593"/>
                      <a:pt x="1487" y="579"/>
                    </a:cubicBezTo>
                    <a:cubicBezTo>
                      <a:pt x="1461" y="566"/>
                      <a:pt x="1451" y="534"/>
                      <a:pt x="1464" y="508"/>
                    </a:cubicBezTo>
                    <a:cubicBezTo>
                      <a:pt x="1478" y="480"/>
                      <a:pt x="1478" y="448"/>
                      <a:pt x="1464" y="420"/>
                    </a:cubicBezTo>
                    <a:cubicBezTo>
                      <a:pt x="1449" y="391"/>
                      <a:pt x="1423" y="372"/>
                      <a:pt x="1392" y="367"/>
                    </a:cubicBezTo>
                    <a:cubicBezTo>
                      <a:pt x="1364" y="363"/>
                      <a:pt x="1344" y="336"/>
                      <a:pt x="1349" y="307"/>
                    </a:cubicBezTo>
                    <a:cubicBezTo>
                      <a:pt x="1353" y="276"/>
                      <a:pt x="1343" y="245"/>
                      <a:pt x="1321" y="223"/>
                    </a:cubicBezTo>
                    <a:cubicBezTo>
                      <a:pt x="1299" y="201"/>
                      <a:pt x="1268" y="191"/>
                      <a:pt x="1237" y="195"/>
                    </a:cubicBezTo>
                    <a:cubicBezTo>
                      <a:pt x="1208" y="200"/>
                      <a:pt x="1181" y="180"/>
                      <a:pt x="1177" y="152"/>
                    </a:cubicBezTo>
                    <a:cubicBezTo>
                      <a:pt x="1172" y="121"/>
                      <a:pt x="1152" y="95"/>
                      <a:pt x="1124" y="80"/>
                    </a:cubicBezTo>
                    <a:cubicBezTo>
                      <a:pt x="1096" y="66"/>
                      <a:pt x="1064" y="66"/>
                      <a:pt x="1036" y="80"/>
                    </a:cubicBezTo>
                    <a:cubicBezTo>
                      <a:pt x="1010" y="93"/>
                      <a:pt x="978" y="83"/>
                      <a:pt x="965" y="57"/>
                    </a:cubicBezTo>
                    <a:cubicBezTo>
                      <a:pt x="951" y="29"/>
                      <a:pt x="925" y="10"/>
                      <a:pt x="893" y="5"/>
                    </a:cubicBezTo>
                    <a:cubicBezTo>
                      <a:pt x="862" y="0"/>
                      <a:pt x="832" y="10"/>
                      <a:pt x="809" y="32"/>
                    </a:cubicBezTo>
                    <a:cubicBezTo>
                      <a:pt x="789" y="53"/>
                      <a:pt x="755" y="53"/>
                      <a:pt x="735" y="32"/>
                    </a:cubicBezTo>
                    <a:cubicBezTo>
                      <a:pt x="712" y="10"/>
                      <a:pt x="682" y="0"/>
                      <a:pt x="651" y="5"/>
                    </a:cubicBezTo>
                    <a:cubicBezTo>
                      <a:pt x="619" y="10"/>
                      <a:pt x="593" y="29"/>
                      <a:pt x="579" y="57"/>
                    </a:cubicBezTo>
                    <a:cubicBezTo>
                      <a:pt x="566" y="83"/>
                      <a:pt x="534" y="93"/>
                      <a:pt x="508" y="80"/>
                    </a:cubicBezTo>
                    <a:cubicBezTo>
                      <a:pt x="480" y="66"/>
                      <a:pt x="448" y="66"/>
                      <a:pt x="420" y="80"/>
                    </a:cubicBezTo>
                    <a:cubicBezTo>
                      <a:pt x="392" y="95"/>
                      <a:pt x="372" y="121"/>
                      <a:pt x="367" y="152"/>
                    </a:cubicBezTo>
                    <a:cubicBezTo>
                      <a:pt x="363" y="180"/>
                      <a:pt x="336" y="200"/>
                      <a:pt x="307" y="195"/>
                    </a:cubicBezTo>
                    <a:cubicBezTo>
                      <a:pt x="276" y="191"/>
                      <a:pt x="245" y="201"/>
                      <a:pt x="223" y="223"/>
                    </a:cubicBezTo>
                    <a:cubicBezTo>
                      <a:pt x="201" y="245"/>
                      <a:pt x="191" y="276"/>
                      <a:pt x="195" y="307"/>
                    </a:cubicBezTo>
                    <a:cubicBezTo>
                      <a:pt x="200" y="336"/>
                      <a:pt x="180" y="363"/>
                      <a:pt x="152" y="367"/>
                    </a:cubicBezTo>
                    <a:cubicBezTo>
                      <a:pt x="121" y="372"/>
                      <a:pt x="95" y="392"/>
                      <a:pt x="80" y="420"/>
                    </a:cubicBezTo>
                    <a:cubicBezTo>
                      <a:pt x="66" y="448"/>
                      <a:pt x="66" y="480"/>
                      <a:pt x="80" y="508"/>
                    </a:cubicBezTo>
                    <a:cubicBezTo>
                      <a:pt x="93" y="534"/>
                      <a:pt x="83" y="566"/>
                      <a:pt x="57" y="579"/>
                    </a:cubicBezTo>
                    <a:cubicBezTo>
                      <a:pt x="29" y="593"/>
                      <a:pt x="10" y="619"/>
                      <a:pt x="5" y="651"/>
                    </a:cubicBezTo>
                    <a:cubicBezTo>
                      <a:pt x="0" y="682"/>
                      <a:pt x="10" y="712"/>
                      <a:pt x="32" y="735"/>
                    </a:cubicBezTo>
                    <a:cubicBezTo>
                      <a:pt x="53" y="755"/>
                      <a:pt x="53" y="789"/>
                      <a:pt x="32" y="809"/>
                    </a:cubicBezTo>
                    <a:cubicBezTo>
                      <a:pt x="10" y="832"/>
                      <a:pt x="0" y="862"/>
                      <a:pt x="5" y="893"/>
                    </a:cubicBezTo>
                    <a:cubicBezTo>
                      <a:pt x="10" y="925"/>
                      <a:pt x="29" y="951"/>
                      <a:pt x="57" y="965"/>
                    </a:cubicBezTo>
                    <a:cubicBezTo>
                      <a:pt x="83" y="978"/>
                      <a:pt x="93" y="1010"/>
                      <a:pt x="80" y="1036"/>
                    </a:cubicBezTo>
                    <a:cubicBezTo>
                      <a:pt x="66" y="1064"/>
                      <a:pt x="66" y="1096"/>
                      <a:pt x="80" y="1124"/>
                    </a:cubicBezTo>
                    <a:cubicBezTo>
                      <a:pt x="95" y="1152"/>
                      <a:pt x="121" y="1172"/>
                      <a:pt x="152" y="1177"/>
                    </a:cubicBezTo>
                    <a:cubicBezTo>
                      <a:pt x="180" y="1181"/>
                      <a:pt x="200" y="1208"/>
                      <a:pt x="195" y="1237"/>
                    </a:cubicBezTo>
                    <a:cubicBezTo>
                      <a:pt x="191" y="1268"/>
                      <a:pt x="201" y="1299"/>
                      <a:pt x="223" y="1321"/>
                    </a:cubicBezTo>
                    <a:cubicBezTo>
                      <a:pt x="245" y="1343"/>
                      <a:pt x="276" y="1353"/>
                      <a:pt x="307" y="1349"/>
                    </a:cubicBezTo>
                    <a:cubicBezTo>
                      <a:pt x="336" y="1344"/>
                      <a:pt x="363" y="1364"/>
                      <a:pt x="367" y="1392"/>
                    </a:cubicBezTo>
                    <a:cubicBezTo>
                      <a:pt x="372" y="1423"/>
                      <a:pt x="392" y="1449"/>
                      <a:pt x="420" y="1464"/>
                    </a:cubicBezTo>
                    <a:cubicBezTo>
                      <a:pt x="448" y="1478"/>
                      <a:pt x="480" y="1478"/>
                      <a:pt x="508" y="1464"/>
                    </a:cubicBezTo>
                    <a:cubicBezTo>
                      <a:pt x="534" y="1451"/>
                      <a:pt x="566" y="1461"/>
                      <a:pt x="579" y="1487"/>
                    </a:cubicBezTo>
                    <a:cubicBezTo>
                      <a:pt x="593" y="1515"/>
                      <a:pt x="619" y="1534"/>
                      <a:pt x="651" y="1539"/>
                    </a:cubicBezTo>
                    <a:cubicBezTo>
                      <a:pt x="682" y="1544"/>
                      <a:pt x="712" y="1534"/>
                      <a:pt x="735" y="1512"/>
                    </a:cubicBezTo>
                    <a:cubicBezTo>
                      <a:pt x="755" y="1491"/>
                      <a:pt x="789" y="1491"/>
                      <a:pt x="809" y="1512"/>
                    </a:cubicBezTo>
                    <a:cubicBezTo>
                      <a:pt x="828" y="1530"/>
                      <a:pt x="852" y="1540"/>
                      <a:pt x="878" y="1540"/>
                    </a:cubicBezTo>
                    <a:cubicBezTo>
                      <a:pt x="883" y="1540"/>
                      <a:pt x="888" y="1540"/>
                      <a:pt x="893" y="1539"/>
                    </a:cubicBezTo>
                    <a:cubicBezTo>
                      <a:pt x="925" y="1534"/>
                      <a:pt x="951" y="1515"/>
                      <a:pt x="965" y="1487"/>
                    </a:cubicBezTo>
                    <a:cubicBezTo>
                      <a:pt x="978" y="1461"/>
                      <a:pt x="1010" y="1451"/>
                      <a:pt x="1036" y="1464"/>
                    </a:cubicBezTo>
                    <a:cubicBezTo>
                      <a:pt x="1064" y="1478"/>
                      <a:pt x="1096" y="1478"/>
                      <a:pt x="1124" y="1464"/>
                    </a:cubicBezTo>
                    <a:cubicBezTo>
                      <a:pt x="1153" y="1449"/>
                      <a:pt x="1172" y="1423"/>
                      <a:pt x="1177" y="1392"/>
                    </a:cubicBezTo>
                    <a:cubicBezTo>
                      <a:pt x="1181" y="1364"/>
                      <a:pt x="1208" y="1344"/>
                      <a:pt x="1237" y="1349"/>
                    </a:cubicBezTo>
                    <a:cubicBezTo>
                      <a:pt x="1268" y="1353"/>
                      <a:pt x="1299" y="1343"/>
                      <a:pt x="1321" y="1321"/>
                    </a:cubicBezTo>
                    <a:cubicBezTo>
                      <a:pt x="1343" y="1299"/>
                      <a:pt x="1353" y="1268"/>
                      <a:pt x="1349" y="1237"/>
                    </a:cubicBezTo>
                    <a:cubicBezTo>
                      <a:pt x="1344" y="1208"/>
                      <a:pt x="1364" y="1181"/>
                      <a:pt x="1392" y="1177"/>
                    </a:cubicBezTo>
                    <a:cubicBezTo>
                      <a:pt x="1423" y="1172"/>
                      <a:pt x="1449" y="1152"/>
                      <a:pt x="1464" y="1124"/>
                    </a:cubicBezTo>
                    <a:cubicBezTo>
                      <a:pt x="1478" y="1096"/>
                      <a:pt x="1478" y="1064"/>
                      <a:pt x="1464" y="1036"/>
                    </a:cubicBezTo>
                    <a:cubicBezTo>
                      <a:pt x="1451" y="1010"/>
                      <a:pt x="1461" y="978"/>
                      <a:pt x="1487" y="965"/>
                    </a:cubicBezTo>
                    <a:cubicBezTo>
                      <a:pt x="1515" y="951"/>
                      <a:pt x="1534" y="925"/>
                      <a:pt x="1539" y="893"/>
                    </a:cubicBezTo>
                    <a:cubicBezTo>
                      <a:pt x="1544" y="862"/>
                      <a:pt x="1534" y="832"/>
                      <a:pt x="1512" y="809"/>
                    </a:cubicBezTo>
                    <a:close/>
                    <a:moveTo>
                      <a:pt x="1480" y="841"/>
                    </a:moveTo>
                    <a:cubicBezTo>
                      <a:pt x="1492" y="853"/>
                      <a:pt x="1497" y="870"/>
                      <a:pt x="1494" y="886"/>
                    </a:cubicBezTo>
                    <a:cubicBezTo>
                      <a:pt x="1492" y="903"/>
                      <a:pt x="1481" y="917"/>
                      <a:pt x="1466" y="925"/>
                    </a:cubicBezTo>
                    <a:cubicBezTo>
                      <a:pt x="1419" y="950"/>
                      <a:pt x="1400" y="1008"/>
                      <a:pt x="1424" y="1056"/>
                    </a:cubicBezTo>
                    <a:cubicBezTo>
                      <a:pt x="1431" y="1071"/>
                      <a:pt x="1431" y="1089"/>
                      <a:pt x="1424" y="1104"/>
                    </a:cubicBezTo>
                    <a:cubicBezTo>
                      <a:pt x="1416" y="1119"/>
                      <a:pt x="1402" y="1129"/>
                      <a:pt x="1385" y="1132"/>
                    </a:cubicBezTo>
                    <a:cubicBezTo>
                      <a:pt x="1332" y="1141"/>
                      <a:pt x="1296" y="1191"/>
                      <a:pt x="1304" y="1244"/>
                    </a:cubicBezTo>
                    <a:cubicBezTo>
                      <a:pt x="1307" y="1261"/>
                      <a:pt x="1301" y="1277"/>
                      <a:pt x="1289" y="1289"/>
                    </a:cubicBezTo>
                    <a:cubicBezTo>
                      <a:pt x="1277" y="1301"/>
                      <a:pt x="1261" y="1307"/>
                      <a:pt x="1244" y="1304"/>
                    </a:cubicBezTo>
                    <a:cubicBezTo>
                      <a:pt x="1191" y="1296"/>
                      <a:pt x="1141" y="1332"/>
                      <a:pt x="1132" y="1385"/>
                    </a:cubicBezTo>
                    <a:cubicBezTo>
                      <a:pt x="1129" y="1402"/>
                      <a:pt x="1119" y="1416"/>
                      <a:pt x="1104" y="1424"/>
                    </a:cubicBezTo>
                    <a:cubicBezTo>
                      <a:pt x="1089" y="1431"/>
                      <a:pt x="1071" y="1431"/>
                      <a:pt x="1056" y="1424"/>
                    </a:cubicBezTo>
                    <a:cubicBezTo>
                      <a:pt x="1008" y="1400"/>
                      <a:pt x="950" y="1419"/>
                      <a:pt x="925" y="1466"/>
                    </a:cubicBezTo>
                    <a:cubicBezTo>
                      <a:pt x="917" y="1481"/>
                      <a:pt x="903" y="1492"/>
                      <a:pt x="886" y="1494"/>
                    </a:cubicBezTo>
                    <a:cubicBezTo>
                      <a:pt x="870" y="1497"/>
                      <a:pt x="853" y="1492"/>
                      <a:pt x="841" y="1480"/>
                    </a:cubicBezTo>
                    <a:cubicBezTo>
                      <a:pt x="822" y="1461"/>
                      <a:pt x="797" y="1452"/>
                      <a:pt x="772" y="1452"/>
                    </a:cubicBezTo>
                    <a:cubicBezTo>
                      <a:pt x="747" y="1452"/>
                      <a:pt x="722" y="1461"/>
                      <a:pt x="703" y="1480"/>
                    </a:cubicBezTo>
                    <a:cubicBezTo>
                      <a:pt x="691" y="1492"/>
                      <a:pt x="674" y="1497"/>
                      <a:pt x="658" y="1494"/>
                    </a:cubicBezTo>
                    <a:cubicBezTo>
                      <a:pt x="641" y="1492"/>
                      <a:pt x="627" y="1481"/>
                      <a:pt x="619" y="1466"/>
                    </a:cubicBezTo>
                    <a:cubicBezTo>
                      <a:pt x="594" y="1419"/>
                      <a:pt x="536" y="1400"/>
                      <a:pt x="488" y="1424"/>
                    </a:cubicBezTo>
                    <a:cubicBezTo>
                      <a:pt x="473" y="1431"/>
                      <a:pt x="455" y="1431"/>
                      <a:pt x="440" y="1424"/>
                    </a:cubicBezTo>
                    <a:cubicBezTo>
                      <a:pt x="425" y="1416"/>
                      <a:pt x="415" y="1402"/>
                      <a:pt x="412" y="1385"/>
                    </a:cubicBezTo>
                    <a:cubicBezTo>
                      <a:pt x="403" y="1332"/>
                      <a:pt x="353" y="1296"/>
                      <a:pt x="300" y="1304"/>
                    </a:cubicBezTo>
                    <a:cubicBezTo>
                      <a:pt x="283" y="1307"/>
                      <a:pt x="267" y="1301"/>
                      <a:pt x="255" y="1289"/>
                    </a:cubicBezTo>
                    <a:cubicBezTo>
                      <a:pt x="243" y="1277"/>
                      <a:pt x="237" y="1261"/>
                      <a:pt x="240" y="1244"/>
                    </a:cubicBezTo>
                    <a:cubicBezTo>
                      <a:pt x="248" y="1191"/>
                      <a:pt x="212" y="1141"/>
                      <a:pt x="159" y="1132"/>
                    </a:cubicBezTo>
                    <a:cubicBezTo>
                      <a:pt x="142" y="1129"/>
                      <a:pt x="128" y="1119"/>
                      <a:pt x="120" y="1104"/>
                    </a:cubicBezTo>
                    <a:cubicBezTo>
                      <a:pt x="113" y="1089"/>
                      <a:pt x="113" y="1071"/>
                      <a:pt x="120" y="1056"/>
                    </a:cubicBezTo>
                    <a:cubicBezTo>
                      <a:pt x="144" y="1008"/>
                      <a:pt x="125" y="950"/>
                      <a:pt x="78" y="925"/>
                    </a:cubicBezTo>
                    <a:cubicBezTo>
                      <a:pt x="63" y="917"/>
                      <a:pt x="52" y="903"/>
                      <a:pt x="50" y="886"/>
                    </a:cubicBezTo>
                    <a:cubicBezTo>
                      <a:pt x="47" y="870"/>
                      <a:pt x="52" y="853"/>
                      <a:pt x="64" y="841"/>
                    </a:cubicBezTo>
                    <a:cubicBezTo>
                      <a:pt x="102" y="803"/>
                      <a:pt x="102" y="741"/>
                      <a:pt x="64" y="703"/>
                    </a:cubicBezTo>
                    <a:cubicBezTo>
                      <a:pt x="52" y="691"/>
                      <a:pt x="47" y="674"/>
                      <a:pt x="50" y="658"/>
                    </a:cubicBezTo>
                    <a:cubicBezTo>
                      <a:pt x="52" y="641"/>
                      <a:pt x="63" y="627"/>
                      <a:pt x="78" y="619"/>
                    </a:cubicBezTo>
                    <a:cubicBezTo>
                      <a:pt x="125" y="594"/>
                      <a:pt x="144" y="536"/>
                      <a:pt x="120" y="488"/>
                    </a:cubicBezTo>
                    <a:cubicBezTo>
                      <a:pt x="113" y="473"/>
                      <a:pt x="113" y="455"/>
                      <a:pt x="120" y="440"/>
                    </a:cubicBezTo>
                    <a:cubicBezTo>
                      <a:pt x="128" y="425"/>
                      <a:pt x="142" y="415"/>
                      <a:pt x="159" y="412"/>
                    </a:cubicBezTo>
                    <a:cubicBezTo>
                      <a:pt x="212" y="403"/>
                      <a:pt x="248" y="353"/>
                      <a:pt x="240" y="300"/>
                    </a:cubicBezTo>
                    <a:cubicBezTo>
                      <a:pt x="237" y="283"/>
                      <a:pt x="243" y="267"/>
                      <a:pt x="255" y="255"/>
                    </a:cubicBezTo>
                    <a:cubicBezTo>
                      <a:pt x="267" y="243"/>
                      <a:pt x="283" y="237"/>
                      <a:pt x="300" y="240"/>
                    </a:cubicBezTo>
                    <a:cubicBezTo>
                      <a:pt x="353" y="248"/>
                      <a:pt x="403" y="212"/>
                      <a:pt x="412" y="159"/>
                    </a:cubicBezTo>
                    <a:cubicBezTo>
                      <a:pt x="415" y="142"/>
                      <a:pt x="425" y="128"/>
                      <a:pt x="440" y="120"/>
                    </a:cubicBezTo>
                    <a:cubicBezTo>
                      <a:pt x="455" y="113"/>
                      <a:pt x="473" y="113"/>
                      <a:pt x="488" y="120"/>
                    </a:cubicBezTo>
                    <a:cubicBezTo>
                      <a:pt x="536" y="144"/>
                      <a:pt x="594" y="125"/>
                      <a:pt x="619" y="78"/>
                    </a:cubicBezTo>
                    <a:cubicBezTo>
                      <a:pt x="627" y="63"/>
                      <a:pt x="641" y="52"/>
                      <a:pt x="658" y="50"/>
                    </a:cubicBezTo>
                    <a:cubicBezTo>
                      <a:pt x="674" y="47"/>
                      <a:pt x="691" y="52"/>
                      <a:pt x="703" y="64"/>
                    </a:cubicBezTo>
                    <a:cubicBezTo>
                      <a:pt x="741" y="102"/>
                      <a:pt x="803" y="102"/>
                      <a:pt x="841" y="64"/>
                    </a:cubicBezTo>
                    <a:cubicBezTo>
                      <a:pt x="853" y="52"/>
                      <a:pt x="870" y="47"/>
                      <a:pt x="886" y="50"/>
                    </a:cubicBezTo>
                    <a:cubicBezTo>
                      <a:pt x="903" y="52"/>
                      <a:pt x="917" y="63"/>
                      <a:pt x="925" y="78"/>
                    </a:cubicBezTo>
                    <a:cubicBezTo>
                      <a:pt x="950" y="125"/>
                      <a:pt x="1008" y="144"/>
                      <a:pt x="1056" y="120"/>
                    </a:cubicBezTo>
                    <a:cubicBezTo>
                      <a:pt x="1071" y="113"/>
                      <a:pt x="1089" y="113"/>
                      <a:pt x="1104" y="120"/>
                    </a:cubicBezTo>
                    <a:cubicBezTo>
                      <a:pt x="1119" y="128"/>
                      <a:pt x="1129" y="142"/>
                      <a:pt x="1132" y="159"/>
                    </a:cubicBezTo>
                    <a:cubicBezTo>
                      <a:pt x="1141" y="212"/>
                      <a:pt x="1191" y="248"/>
                      <a:pt x="1244" y="240"/>
                    </a:cubicBezTo>
                    <a:cubicBezTo>
                      <a:pt x="1261" y="237"/>
                      <a:pt x="1277" y="243"/>
                      <a:pt x="1289" y="255"/>
                    </a:cubicBezTo>
                    <a:cubicBezTo>
                      <a:pt x="1301" y="267"/>
                      <a:pt x="1307" y="283"/>
                      <a:pt x="1304" y="300"/>
                    </a:cubicBezTo>
                    <a:cubicBezTo>
                      <a:pt x="1296" y="353"/>
                      <a:pt x="1332" y="403"/>
                      <a:pt x="1385" y="412"/>
                    </a:cubicBezTo>
                    <a:cubicBezTo>
                      <a:pt x="1402" y="415"/>
                      <a:pt x="1416" y="425"/>
                      <a:pt x="1424" y="440"/>
                    </a:cubicBezTo>
                    <a:cubicBezTo>
                      <a:pt x="1431" y="455"/>
                      <a:pt x="1431" y="473"/>
                      <a:pt x="1424" y="488"/>
                    </a:cubicBezTo>
                    <a:cubicBezTo>
                      <a:pt x="1400" y="536"/>
                      <a:pt x="1419" y="594"/>
                      <a:pt x="1466" y="619"/>
                    </a:cubicBezTo>
                    <a:cubicBezTo>
                      <a:pt x="1481" y="627"/>
                      <a:pt x="1492" y="641"/>
                      <a:pt x="1494" y="658"/>
                    </a:cubicBezTo>
                    <a:cubicBezTo>
                      <a:pt x="1497" y="674"/>
                      <a:pt x="1492" y="691"/>
                      <a:pt x="1480" y="703"/>
                    </a:cubicBezTo>
                    <a:cubicBezTo>
                      <a:pt x="1442" y="741"/>
                      <a:pt x="1442" y="803"/>
                      <a:pt x="1480" y="841"/>
                    </a:cubicBezTo>
                    <a:close/>
                    <a:moveTo>
                      <a:pt x="1480" y="841"/>
                    </a:moveTo>
                    <a:cubicBezTo>
                      <a:pt x="1480" y="841"/>
                      <a:pt x="1480" y="841"/>
                      <a:pt x="1480" y="841"/>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39" name="Freeform 6"/>
              <p:cNvSpPr>
                <a:spLocks noEditPoints="1"/>
              </p:cNvSpPr>
              <p:nvPr/>
            </p:nvSpPr>
            <p:spPr bwMode="auto">
              <a:xfrm>
                <a:off x="4295791" y="4143927"/>
                <a:ext cx="292572" cy="290273"/>
              </a:xfrm>
              <a:custGeom>
                <a:avLst/>
                <a:gdLst>
                  <a:gd name="T0" fmla="*/ 1033 w 1044"/>
                  <a:gd name="T1" fmla="*/ 154 h 1041"/>
                  <a:gd name="T2" fmla="*/ 606 w 1044"/>
                  <a:gd name="T3" fmla="*/ 6 h 1041"/>
                  <a:gd name="T4" fmla="*/ 188 w 1044"/>
                  <a:gd name="T5" fmla="*/ 188 h 1041"/>
                  <a:gd name="T6" fmla="*/ 6 w 1044"/>
                  <a:gd name="T7" fmla="*/ 606 h 1041"/>
                  <a:gd name="T8" fmla="*/ 154 w 1044"/>
                  <a:gd name="T9" fmla="*/ 1033 h 1041"/>
                  <a:gd name="T10" fmla="*/ 171 w 1044"/>
                  <a:gd name="T11" fmla="*/ 1041 h 1041"/>
                  <a:gd name="T12" fmla="*/ 186 w 1044"/>
                  <a:gd name="T13" fmla="*/ 1036 h 1041"/>
                  <a:gd name="T14" fmla="*/ 188 w 1044"/>
                  <a:gd name="T15" fmla="*/ 1004 h 1041"/>
                  <a:gd name="T16" fmla="*/ 51 w 1044"/>
                  <a:gd name="T17" fmla="*/ 607 h 1041"/>
                  <a:gd name="T18" fmla="*/ 220 w 1044"/>
                  <a:gd name="T19" fmla="*/ 220 h 1041"/>
                  <a:gd name="T20" fmla="*/ 607 w 1044"/>
                  <a:gd name="T21" fmla="*/ 51 h 1041"/>
                  <a:gd name="T22" fmla="*/ 1004 w 1044"/>
                  <a:gd name="T23" fmla="*/ 188 h 1041"/>
                  <a:gd name="T24" fmla="*/ 1036 w 1044"/>
                  <a:gd name="T25" fmla="*/ 186 h 1041"/>
                  <a:gd name="T26" fmla="*/ 1033 w 1044"/>
                  <a:gd name="T27" fmla="*/ 154 h 1041"/>
                  <a:gd name="T28" fmla="*/ 1033 w 1044"/>
                  <a:gd name="T29" fmla="*/ 154 h 1041"/>
                  <a:gd name="T30" fmla="*/ 1033 w 1044"/>
                  <a:gd name="T31" fmla="*/ 154 h 1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4" h="1041">
                    <a:moveTo>
                      <a:pt x="1033" y="154"/>
                    </a:moveTo>
                    <a:cubicBezTo>
                      <a:pt x="914" y="53"/>
                      <a:pt x="762" y="0"/>
                      <a:pt x="606" y="6"/>
                    </a:cubicBezTo>
                    <a:cubicBezTo>
                      <a:pt x="448" y="12"/>
                      <a:pt x="300" y="76"/>
                      <a:pt x="188" y="188"/>
                    </a:cubicBezTo>
                    <a:cubicBezTo>
                      <a:pt x="76" y="300"/>
                      <a:pt x="12" y="448"/>
                      <a:pt x="6" y="606"/>
                    </a:cubicBezTo>
                    <a:cubicBezTo>
                      <a:pt x="0" y="762"/>
                      <a:pt x="53" y="914"/>
                      <a:pt x="154" y="1033"/>
                    </a:cubicBezTo>
                    <a:cubicBezTo>
                      <a:pt x="159" y="1038"/>
                      <a:pt x="165" y="1041"/>
                      <a:pt x="171" y="1041"/>
                    </a:cubicBezTo>
                    <a:cubicBezTo>
                      <a:pt x="177" y="1041"/>
                      <a:pt x="182" y="1039"/>
                      <a:pt x="186" y="1036"/>
                    </a:cubicBezTo>
                    <a:cubicBezTo>
                      <a:pt x="195" y="1028"/>
                      <a:pt x="197" y="1013"/>
                      <a:pt x="188" y="1004"/>
                    </a:cubicBezTo>
                    <a:cubicBezTo>
                      <a:pt x="94" y="894"/>
                      <a:pt x="45" y="753"/>
                      <a:pt x="51" y="607"/>
                    </a:cubicBezTo>
                    <a:cubicBezTo>
                      <a:pt x="56" y="461"/>
                      <a:pt x="116" y="323"/>
                      <a:pt x="220" y="220"/>
                    </a:cubicBezTo>
                    <a:cubicBezTo>
                      <a:pt x="323" y="116"/>
                      <a:pt x="461" y="56"/>
                      <a:pt x="607" y="51"/>
                    </a:cubicBezTo>
                    <a:cubicBezTo>
                      <a:pt x="753" y="45"/>
                      <a:pt x="894" y="94"/>
                      <a:pt x="1004" y="188"/>
                    </a:cubicBezTo>
                    <a:cubicBezTo>
                      <a:pt x="1013" y="197"/>
                      <a:pt x="1028" y="195"/>
                      <a:pt x="1036" y="186"/>
                    </a:cubicBezTo>
                    <a:cubicBezTo>
                      <a:pt x="1044" y="177"/>
                      <a:pt x="1043" y="162"/>
                      <a:pt x="1033" y="154"/>
                    </a:cubicBezTo>
                    <a:close/>
                    <a:moveTo>
                      <a:pt x="1033" y="154"/>
                    </a:moveTo>
                    <a:cubicBezTo>
                      <a:pt x="1033" y="154"/>
                      <a:pt x="1033" y="154"/>
                      <a:pt x="1033" y="154"/>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40" name="Freeform 7"/>
              <p:cNvSpPr>
                <a:spLocks noEditPoints="1"/>
              </p:cNvSpPr>
              <p:nvPr/>
            </p:nvSpPr>
            <p:spPr bwMode="auto">
              <a:xfrm>
                <a:off x="4355776" y="4203453"/>
                <a:ext cx="292572" cy="289814"/>
              </a:xfrm>
              <a:custGeom>
                <a:avLst/>
                <a:gdLst>
                  <a:gd name="T0" fmla="*/ 890 w 1044"/>
                  <a:gd name="T1" fmla="*/ 11 h 1039"/>
                  <a:gd name="T2" fmla="*/ 858 w 1044"/>
                  <a:gd name="T3" fmla="*/ 8 h 1039"/>
                  <a:gd name="T4" fmla="*/ 856 w 1044"/>
                  <a:gd name="T5" fmla="*/ 40 h 1039"/>
                  <a:gd name="T6" fmla="*/ 993 w 1044"/>
                  <a:gd name="T7" fmla="*/ 437 h 1039"/>
                  <a:gd name="T8" fmla="*/ 824 w 1044"/>
                  <a:gd name="T9" fmla="*/ 824 h 1039"/>
                  <a:gd name="T10" fmla="*/ 437 w 1044"/>
                  <a:gd name="T11" fmla="*/ 993 h 1039"/>
                  <a:gd name="T12" fmla="*/ 40 w 1044"/>
                  <a:gd name="T13" fmla="*/ 856 h 1039"/>
                  <a:gd name="T14" fmla="*/ 8 w 1044"/>
                  <a:gd name="T15" fmla="*/ 858 h 1039"/>
                  <a:gd name="T16" fmla="*/ 11 w 1044"/>
                  <a:gd name="T17" fmla="*/ 890 h 1039"/>
                  <a:gd name="T18" fmla="*/ 415 w 1044"/>
                  <a:gd name="T19" fmla="*/ 1039 h 1039"/>
                  <a:gd name="T20" fmla="*/ 438 w 1044"/>
                  <a:gd name="T21" fmla="*/ 1038 h 1039"/>
                  <a:gd name="T22" fmla="*/ 856 w 1044"/>
                  <a:gd name="T23" fmla="*/ 856 h 1039"/>
                  <a:gd name="T24" fmla="*/ 1038 w 1044"/>
                  <a:gd name="T25" fmla="*/ 438 h 1039"/>
                  <a:gd name="T26" fmla="*/ 890 w 1044"/>
                  <a:gd name="T27" fmla="*/ 11 h 1039"/>
                  <a:gd name="T28" fmla="*/ 890 w 1044"/>
                  <a:gd name="T29" fmla="*/ 11 h 1039"/>
                  <a:gd name="T30" fmla="*/ 890 w 1044"/>
                  <a:gd name="T31" fmla="*/ 11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44" h="1039">
                    <a:moveTo>
                      <a:pt x="890" y="11"/>
                    </a:moveTo>
                    <a:cubicBezTo>
                      <a:pt x="882" y="1"/>
                      <a:pt x="868" y="0"/>
                      <a:pt x="858" y="8"/>
                    </a:cubicBezTo>
                    <a:cubicBezTo>
                      <a:pt x="849" y="16"/>
                      <a:pt x="847" y="31"/>
                      <a:pt x="856" y="40"/>
                    </a:cubicBezTo>
                    <a:cubicBezTo>
                      <a:pt x="950" y="150"/>
                      <a:pt x="999" y="291"/>
                      <a:pt x="993" y="437"/>
                    </a:cubicBezTo>
                    <a:cubicBezTo>
                      <a:pt x="988" y="583"/>
                      <a:pt x="928" y="721"/>
                      <a:pt x="824" y="824"/>
                    </a:cubicBezTo>
                    <a:cubicBezTo>
                      <a:pt x="721" y="928"/>
                      <a:pt x="583" y="988"/>
                      <a:pt x="437" y="993"/>
                    </a:cubicBezTo>
                    <a:cubicBezTo>
                      <a:pt x="291" y="999"/>
                      <a:pt x="150" y="950"/>
                      <a:pt x="40" y="856"/>
                    </a:cubicBezTo>
                    <a:cubicBezTo>
                      <a:pt x="31" y="847"/>
                      <a:pt x="16" y="849"/>
                      <a:pt x="8" y="858"/>
                    </a:cubicBezTo>
                    <a:cubicBezTo>
                      <a:pt x="0" y="867"/>
                      <a:pt x="1" y="882"/>
                      <a:pt x="11" y="890"/>
                    </a:cubicBezTo>
                    <a:cubicBezTo>
                      <a:pt x="124" y="986"/>
                      <a:pt x="267" y="1039"/>
                      <a:pt x="415" y="1039"/>
                    </a:cubicBezTo>
                    <a:cubicBezTo>
                      <a:pt x="423" y="1039"/>
                      <a:pt x="431" y="1038"/>
                      <a:pt x="438" y="1038"/>
                    </a:cubicBezTo>
                    <a:cubicBezTo>
                      <a:pt x="596" y="1032"/>
                      <a:pt x="744" y="968"/>
                      <a:pt x="856" y="856"/>
                    </a:cubicBezTo>
                    <a:cubicBezTo>
                      <a:pt x="968" y="744"/>
                      <a:pt x="1032" y="596"/>
                      <a:pt x="1038" y="438"/>
                    </a:cubicBezTo>
                    <a:cubicBezTo>
                      <a:pt x="1044" y="282"/>
                      <a:pt x="991" y="130"/>
                      <a:pt x="890" y="11"/>
                    </a:cubicBezTo>
                    <a:close/>
                    <a:moveTo>
                      <a:pt x="890" y="11"/>
                    </a:moveTo>
                    <a:cubicBezTo>
                      <a:pt x="890" y="11"/>
                      <a:pt x="890" y="11"/>
                      <a:pt x="890" y="11"/>
                    </a:cubicBezTo>
                  </a:path>
                </a:pathLst>
              </a:custGeom>
              <a:solidFill>
                <a:srgbClr val="555557"/>
              </a:solidFill>
              <a:ln>
                <a:noFill/>
              </a:ln>
            </p:spPr>
            <p:txBody>
              <a:bodyPr vert="horz" wrap="square" lIns="91440" tIns="45720" rIns="91440" bIns="45720" numCol="1" anchor="t" anchorCtr="0" compatLnSpc="1">
                <a:prstTxWarp prst="textNoShape">
                  <a:avLst/>
                </a:prstTxWarp>
              </a:bodyPr>
              <a:lstStyle/>
              <a:p>
                <a:endParaRPr lang="fr-FR"/>
              </a:p>
            </p:txBody>
          </p:sp>
          <p:sp>
            <p:nvSpPr>
              <p:cNvPr id="41" name="Freeform 8"/>
              <p:cNvSpPr>
                <a:spLocks noEditPoints="1"/>
              </p:cNvSpPr>
              <p:nvPr/>
            </p:nvSpPr>
            <p:spPr bwMode="auto">
              <a:xfrm>
                <a:off x="4363361" y="4265736"/>
                <a:ext cx="59755" cy="107100"/>
              </a:xfrm>
              <a:custGeom>
                <a:avLst/>
                <a:gdLst>
                  <a:gd name="T0" fmla="*/ 191 w 213"/>
                  <a:gd name="T1" fmla="*/ 2 h 384"/>
                  <a:gd name="T2" fmla="*/ 168 w 213"/>
                  <a:gd name="T3" fmla="*/ 24 h 384"/>
                  <a:gd name="T4" fmla="*/ 168 w 213"/>
                  <a:gd name="T5" fmla="*/ 266 h 384"/>
                  <a:gd name="T6" fmla="*/ 43 w 213"/>
                  <a:gd name="T7" fmla="*/ 14 h 384"/>
                  <a:gd name="T8" fmla="*/ 17 w 213"/>
                  <a:gd name="T9" fmla="*/ 2 h 384"/>
                  <a:gd name="T10" fmla="*/ 0 w 213"/>
                  <a:gd name="T11" fmla="*/ 24 h 384"/>
                  <a:gd name="T12" fmla="*/ 0 w 213"/>
                  <a:gd name="T13" fmla="*/ 361 h 384"/>
                  <a:gd name="T14" fmla="*/ 22 w 213"/>
                  <a:gd name="T15" fmla="*/ 384 h 384"/>
                  <a:gd name="T16" fmla="*/ 45 w 213"/>
                  <a:gd name="T17" fmla="*/ 361 h 384"/>
                  <a:gd name="T18" fmla="*/ 45 w 213"/>
                  <a:gd name="T19" fmla="*/ 120 h 384"/>
                  <a:gd name="T20" fmla="*/ 171 w 213"/>
                  <a:gd name="T21" fmla="*/ 371 h 384"/>
                  <a:gd name="T22" fmla="*/ 191 w 213"/>
                  <a:gd name="T23" fmla="*/ 384 h 384"/>
                  <a:gd name="T24" fmla="*/ 196 w 213"/>
                  <a:gd name="T25" fmla="*/ 383 h 384"/>
                  <a:gd name="T26" fmla="*/ 213 w 213"/>
                  <a:gd name="T27" fmla="*/ 361 h 384"/>
                  <a:gd name="T28" fmla="*/ 213 w 213"/>
                  <a:gd name="T29" fmla="*/ 24 h 384"/>
                  <a:gd name="T30" fmla="*/ 191 w 213"/>
                  <a:gd name="T31" fmla="*/ 2 h 384"/>
                  <a:gd name="T32" fmla="*/ 191 w 213"/>
                  <a:gd name="T33" fmla="*/ 2 h 384"/>
                  <a:gd name="T34" fmla="*/ 191 w 213"/>
                  <a:gd name="T35" fmla="*/ 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3" h="384">
                    <a:moveTo>
                      <a:pt x="191" y="2"/>
                    </a:moveTo>
                    <a:cubicBezTo>
                      <a:pt x="178" y="2"/>
                      <a:pt x="168" y="12"/>
                      <a:pt x="168" y="24"/>
                    </a:cubicBezTo>
                    <a:cubicBezTo>
                      <a:pt x="168" y="266"/>
                      <a:pt x="168" y="266"/>
                      <a:pt x="168" y="266"/>
                    </a:cubicBezTo>
                    <a:cubicBezTo>
                      <a:pt x="43" y="14"/>
                      <a:pt x="43" y="14"/>
                      <a:pt x="43" y="14"/>
                    </a:cubicBezTo>
                    <a:cubicBezTo>
                      <a:pt x="38" y="5"/>
                      <a:pt x="27" y="0"/>
                      <a:pt x="17" y="2"/>
                    </a:cubicBezTo>
                    <a:cubicBezTo>
                      <a:pt x="7" y="5"/>
                      <a:pt x="0" y="14"/>
                      <a:pt x="0" y="24"/>
                    </a:cubicBezTo>
                    <a:cubicBezTo>
                      <a:pt x="0" y="361"/>
                      <a:pt x="0" y="361"/>
                      <a:pt x="0" y="361"/>
                    </a:cubicBezTo>
                    <a:cubicBezTo>
                      <a:pt x="0" y="373"/>
                      <a:pt x="10" y="384"/>
                      <a:pt x="22" y="384"/>
                    </a:cubicBezTo>
                    <a:cubicBezTo>
                      <a:pt x="35" y="384"/>
                      <a:pt x="45" y="373"/>
                      <a:pt x="45" y="361"/>
                    </a:cubicBezTo>
                    <a:cubicBezTo>
                      <a:pt x="45" y="120"/>
                      <a:pt x="45" y="120"/>
                      <a:pt x="45" y="120"/>
                    </a:cubicBezTo>
                    <a:cubicBezTo>
                      <a:pt x="171" y="371"/>
                      <a:pt x="171" y="371"/>
                      <a:pt x="171" y="371"/>
                    </a:cubicBezTo>
                    <a:cubicBezTo>
                      <a:pt x="175" y="379"/>
                      <a:pt x="182" y="384"/>
                      <a:pt x="191" y="384"/>
                    </a:cubicBezTo>
                    <a:cubicBezTo>
                      <a:pt x="192" y="384"/>
                      <a:pt x="194" y="383"/>
                      <a:pt x="196" y="383"/>
                    </a:cubicBezTo>
                    <a:cubicBezTo>
                      <a:pt x="206" y="381"/>
                      <a:pt x="213" y="372"/>
                      <a:pt x="213" y="361"/>
                    </a:cubicBezTo>
                    <a:cubicBezTo>
                      <a:pt x="213" y="24"/>
                      <a:pt x="213" y="24"/>
                      <a:pt x="213" y="24"/>
                    </a:cubicBezTo>
                    <a:cubicBezTo>
                      <a:pt x="213" y="12"/>
                      <a:pt x="203" y="2"/>
                      <a:pt x="191" y="2"/>
                    </a:cubicBezTo>
                    <a:close/>
                    <a:moveTo>
                      <a:pt x="191" y="2"/>
                    </a:moveTo>
                    <a:cubicBezTo>
                      <a:pt x="191" y="2"/>
                      <a:pt x="191" y="2"/>
                      <a:pt x="191" y="2"/>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sp>
            <p:nvSpPr>
              <p:cNvPr id="42" name="Freeform 9"/>
              <p:cNvSpPr>
                <a:spLocks noEditPoints="1"/>
              </p:cNvSpPr>
              <p:nvPr/>
            </p:nvSpPr>
            <p:spPr bwMode="auto">
              <a:xfrm>
                <a:off x="4437365" y="4266196"/>
                <a:ext cx="53090" cy="106640"/>
              </a:xfrm>
              <a:custGeom>
                <a:avLst/>
                <a:gdLst>
                  <a:gd name="T0" fmla="*/ 167 w 190"/>
                  <a:gd name="T1" fmla="*/ 337 h 382"/>
                  <a:gd name="T2" fmla="*/ 45 w 190"/>
                  <a:gd name="T3" fmla="*/ 337 h 382"/>
                  <a:gd name="T4" fmla="*/ 45 w 190"/>
                  <a:gd name="T5" fmla="*/ 213 h 382"/>
                  <a:gd name="T6" fmla="*/ 119 w 190"/>
                  <a:gd name="T7" fmla="*/ 213 h 382"/>
                  <a:gd name="T8" fmla="*/ 142 w 190"/>
                  <a:gd name="T9" fmla="*/ 191 h 382"/>
                  <a:gd name="T10" fmla="*/ 119 w 190"/>
                  <a:gd name="T11" fmla="*/ 168 h 382"/>
                  <a:gd name="T12" fmla="*/ 45 w 190"/>
                  <a:gd name="T13" fmla="*/ 168 h 382"/>
                  <a:gd name="T14" fmla="*/ 45 w 190"/>
                  <a:gd name="T15" fmla="*/ 45 h 382"/>
                  <a:gd name="T16" fmla="*/ 167 w 190"/>
                  <a:gd name="T17" fmla="*/ 45 h 382"/>
                  <a:gd name="T18" fmla="*/ 190 w 190"/>
                  <a:gd name="T19" fmla="*/ 22 h 382"/>
                  <a:gd name="T20" fmla="*/ 167 w 190"/>
                  <a:gd name="T21" fmla="*/ 0 h 382"/>
                  <a:gd name="T22" fmla="*/ 23 w 190"/>
                  <a:gd name="T23" fmla="*/ 0 h 382"/>
                  <a:gd name="T24" fmla="*/ 0 w 190"/>
                  <a:gd name="T25" fmla="*/ 22 h 382"/>
                  <a:gd name="T26" fmla="*/ 0 w 190"/>
                  <a:gd name="T27" fmla="*/ 359 h 382"/>
                  <a:gd name="T28" fmla="*/ 23 w 190"/>
                  <a:gd name="T29" fmla="*/ 382 h 382"/>
                  <a:gd name="T30" fmla="*/ 167 w 190"/>
                  <a:gd name="T31" fmla="*/ 382 h 382"/>
                  <a:gd name="T32" fmla="*/ 190 w 190"/>
                  <a:gd name="T33" fmla="*/ 359 h 382"/>
                  <a:gd name="T34" fmla="*/ 167 w 190"/>
                  <a:gd name="T35" fmla="*/ 337 h 382"/>
                  <a:gd name="T36" fmla="*/ 167 w 190"/>
                  <a:gd name="T37" fmla="*/ 337 h 382"/>
                  <a:gd name="T38" fmla="*/ 167 w 190"/>
                  <a:gd name="T39" fmla="*/ 33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0" h="382">
                    <a:moveTo>
                      <a:pt x="167" y="337"/>
                    </a:moveTo>
                    <a:cubicBezTo>
                      <a:pt x="45" y="337"/>
                      <a:pt x="45" y="337"/>
                      <a:pt x="45" y="337"/>
                    </a:cubicBezTo>
                    <a:cubicBezTo>
                      <a:pt x="45" y="213"/>
                      <a:pt x="45" y="213"/>
                      <a:pt x="45" y="213"/>
                    </a:cubicBezTo>
                    <a:cubicBezTo>
                      <a:pt x="119" y="213"/>
                      <a:pt x="119" y="213"/>
                      <a:pt x="119" y="213"/>
                    </a:cubicBezTo>
                    <a:cubicBezTo>
                      <a:pt x="132" y="213"/>
                      <a:pt x="142" y="203"/>
                      <a:pt x="142" y="191"/>
                    </a:cubicBezTo>
                    <a:cubicBezTo>
                      <a:pt x="142" y="178"/>
                      <a:pt x="132" y="168"/>
                      <a:pt x="119" y="168"/>
                    </a:cubicBezTo>
                    <a:cubicBezTo>
                      <a:pt x="45" y="168"/>
                      <a:pt x="45" y="168"/>
                      <a:pt x="45" y="168"/>
                    </a:cubicBezTo>
                    <a:cubicBezTo>
                      <a:pt x="45" y="45"/>
                      <a:pt x="45" y="45"/>
                      <a:pt x="45" y="45"/>
                    </a:cubicBezTo>
                    <a:cubicBezTo>
                      <a:pt x="167" y="45"/>
                      <a:pt x="167" y="45"/>
                      <a:pt x="167" y="45"/>
                    </a:cubicBezTo>
                    <a:cubicBezTo>
                      <a:pt x="180" y="45"/>
                      <a:pt x="190" y="35"/>
                      <a:pt x="190" y="22"/>
                    </a:cubicBezTo>
                    <a:cubicBezTo>
                      <a:pt x="190" y="10"/>
                      <a:pt x="180" y="0"/>
                      <a:pt x="167" y="0"/>
                    </a:cubicBezTo>
                    <a:cubicBezTo>
                      <a:pt x="23" y="0"/>
                      <a:pt x="23" y="0"/>
                      <a:pt x="23" y="0"/>
                    </a:cubicBezTo>
                    <a:cubicBezTo>
                      <a:pt x="11" y="0"/>
                      <a:pt x="0" y="10"/>
                      <a:pt x="0" y="22"/>
                    </a:cubicBezTo>
                    <a:cubicBezTo>
                      <a:pt x="0" y="359"/>
                      <a:pt x="0" y="359"/>
                      <a:pt x="0" y="359"/>
                    </a:cubicBezTo>
                    <a:cubicBezTo>
                      <a:pt x="0" y="371"/>
                      <a:pt x="11" y="382"/>
                      <a:pt x="23" y="382"/>
                    </a:cubicBezTo>
                    <a:cubicBezTo>
                      <a:pt x="167" y="382"/>
                      <a:pt x="167" y="382"/>
                      <a:pt x="167" y="382"/>
                    </a:cubicBezTo>
                    <a:cubicBezTo>
                      <a:pt x="180" y="382"/>
                      <a:pt x="190" y="371"/>
                      <a:pt x="190" y="359"/>
                    </a:cubicBezTo>
                    <a:cubicBezTo>
                      <a:pt x="190" y="347"/>
                      <a:pt x="180" y="337"/>
                      <a:pt x="167" y="337"/>
                    </a:cubicBezTo>
                    <a:close/>
                    <a:moveTo>
                      <a:pt x="167" y="337"/>
                    </a:moveTo>
                    <a:cubicBezTo>
                      <a:pt x="167" y="337"/>
                      <a:pt x="167" y="337"/>
                      <a:pt x="167" y="337"/>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sp>
            <p:nvSpPr>
              <p:cNvPr id="43" name="Freeform 10"/>
              <p:cNvSpPr>
                <a:spLocks noEditPoints="1"/>
              </p:cNvSpPr>
              <p:nvPr/>
            </p:nvSpPr>
            <p:spPr bwMode="auto">
              <a:xfrm>
                <a:off x="4497580" y="4265736"/>
                <a:ext cx="94689" cy="107100"/>
              </a:xfrm>
              <a:custGeom>
                <a:avLst/>
                <a:gdLst>
                  <a:gd name="T0" fmla="*/ 318 w 338"/>
                  <a:gd name="T1" fmla="*/ 2 h 384"/>
                  <a:gd name="T2" fmla="*/ 291 w 338"/>
                  <a:gd name="T3" fmla="*/ 20 h 384"/>
                  <a:gd name="T4" fmla="*/ 241 w 338"/>
                  <a:gd name="T5" fmla="*/ 254 h 384"/>
                  <a:gd name="T6" fmla="*/ 191 w 338"/>
                  <a:gd name="T7" fmla="*/ 20 h 384"/>
                  <a:gd name="T8" fmla="*/ 169 w 338"/>
                  <a:gd name="T9" fmla="*/ 2 h 384"/>
                  <a:gd name="T10" fmla="*/ 147 w 338"/>
                  <a:gd name="T11" fmla="*/ 20 h 384"/>
                  <a:gd name="T12" fmla="*/ 97 w 338"/>
                  <a:gd name="T13" fmla="*/ 254 h 384"/>
                  <a:gd name="T14" fmla="*/ 46 w 338"/>
                  <a:gd name="T15" fmla="*/ 20 h 384"/>
                  <a:gd name="T16" fmla="*/ 20 w 338"/>
                  <a:gd name="T17" fmla="*/ 2 h 384"/>
                  <a:gd name="T18" fmla="*/ 2 w 338"/>
                  <a:gd name="T19" fmla="*/ 29 h 384"/>
                  <a:gd name="T20" fmla="*/ 75 w 338"/>
                  <a:gd name="T21" fmla="*/ 366 h 384"/>
                  <a:gd name="T22" fmla="*/ 97 w 338"/>
                  <a:gd name="T23" fmla="*/ 384 h 384"/>
                  <a:gd name="T24" fmla="*/ 119 w 338"/>
                  <a:gd name="T25" fmla="*/ 366 h 384"/>
                  <a:gd name="T26" fmla="*/ 169 w 338"/>
                  <a:gd name="T27" fmla="*/ 132 h 384"/>
                  <a:gd name="T28" fmla="*/ 219 w 338"/>
                  <a:gd name="T29" fmla="*/ 366 h 384"/>
                  <a:gd name="T30" fmla="*/ 241 w 338"/>
                  <a:gd name="T31" fmla="*/ 384 h 384"/>
                  <a:gd name="T32" fmla="*/ 263 w 338"/>
                  <a:gd name="T33" fmla="*/ 366 h 384"/>
                  <a:gd name="T34" fmla="*/ 335 w 338"/>
                  <a:gd name="T35" fmla="*/ 29 h 384"/>
                  <a:gd name="T36" fmla="*/ 318 w 338"/>
                  <a:gd name="T37" fmla="*/ 2 h 384"/>
                  <a:gd name="T38" fmla="*/ 318 w 338"/>
                  <a:gd name="T39" fmla="*/ 2 h 384"/>
                  <a:gd name="T40" fmla="*/ 318 w 338"/>
                  <a:gd name="T41" fmla="*/ 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8" h="384">
                    <a:moveTo>
                      <a:pt x="318" y="2"/>
                    </a:moveTo>
                    <a:cubicBezTo>
                      <a:pt x="306" y="0"/>
                      <a:pt x="294" y="8"/>
                      <a:pt x="291" y="20"/>
                    </a:cubicBezTo>
                    <a:cubicBezTo>
                      <a:pt x="241" y="254"/>
                      <a:pt x="241" y="254"/>
                      <a:pt x="241" y="254"/>
                    </a:cubicBezTo>
                    <a:cubicBezTo>
                      <a:pt x="191" y="20"/>
                      <a:pt x="191" y="20"/>
                      <a:pt x="191" y="20"/>
                    </a:cubicBezTo>
                    <a:cubicBezTo>
                      <a:pt x="188" y="9"/>
                      <a:pt x="179" y="2"/>
                      <a:pt x="169" y="2"/>
                    </a:cubicBezTo>
                    <a:cubicBezTo>
                      <a:pt x="158" y="2"/>
                      <a:pt x="149" y="9"/>
                      <a:pt x="147" y="20"/>
                    </a:cubicBezTo>
                    <a:cubicBezTo>
                      <a:pt x="97" y="254"/>
                      <a:pt x="97" y="254"/>
                      <a:pt x="97" y="254"/>
                    </a:cubicBezTo>
                    <a:cubicBezTo>
                      <a:pt x="46" y="20"/>
                      <a:pt x="46" y="20"/>
                      <a:pt x="46" y="20"/>
                    </a:cubicBezTo>
                    <a:cubicBezTo>
                      <a:pt x="44" y="8"/>
                      <a:pt x="32" y="0"/>
                      <a:pt x="20" y="2"/>
                    </a:cubicBezTo>
                    <a:cubicBezTo>
                      <a:pt x="8" y="5"/>
                      <a:pt x="0" y="17"/>
                      <a:pt x="2" y="29"/>
                    </a:cubicBezTo>
                    <a:cubicBezTo>
                      <a:pt x="75" y="366"/>
                      <a:pt x="75" y="366"/>
                      <a:pt x="75" y="366"/>
                    </a:cubicBezTo>
                    <a:cubicBezTo>
                      <a:pt x="77" y="376"/>
                      <a:pt x="86" y="384"/>
                      <a:pt x="97" y="384"/>
                    </a:cubicBezTo>
                    <a:cubicBezTo>
                      <a:pt x="107" y="384"/>
                      <a:pt x="116" y="376"/>
                      <a:pt x="119" y="366"/>
                    </a:cubicBezTo>
                    <a:cubicBezTo>
                      <a:pt x="169" y="132"/>
                      <a:pt x="169" y="132"/>
                      <a:pt x="169" y="132"/>
                    </a:cubicBezTo>
                    <a:cubicBezTo>
                      <a:pt x="219" y="366"/>
                      <a:pt x="219" y="366"/>
                      <a:pt x="219" y="366"/>
                    </a:cubicBezTo>
                    <a:cubicBezTo>
                      <a:pt x="221" y="376"/>
                      <a:pt x="230" y="384"/>
                      <a:pt x="241" y="384"/>
                    </a:cubicBezTo>
                    <a:cubicBezTo>
                      <a:pt x="251" y="384"/>
                      <a:pt x="261" y="376"/>
                      <a:pt x="263" y="366"/>
                    </a:cubicBezTo>
                    <a:cubicBezTo>
                      <a:pt x="335" y="29"/>
                      <a:pt x="335" y="29"/>
                      <a:pt x="335" y="29"/>
                    </a:cubicBezTo>
                    <a:cubicBezTo>
                      <a:pt x="338" y="17"/>
                      <a:pt x="330" y="5"/>
                      <a:pt x="318" y="2"/>
                    </a:cubicBezTo>
                    <a:close/>
                    <a:moveTo>
                      <a:pt x="318" y="2"/>
                    </a:moveTo>
                    <a:cubicBezTo>
                      <a:pt x="318" y="2"/>
                      <a:pt x="318" y="2"/>
                      <a:pt x="318" y="2"/>
                    </a:cubicBezTo>
                  </a:path>
                </a:pathLst>
              </a:custGeom>
              <a:solidFill>
                <a:srgbClr val="DF2680"/>
              </a:solidFill>
              <a:ln>
                <a:noFill/>
              </a:ln>
            </p:spPr>
            <p:txBody>
              <a:bodyPr vert="horz" wrap="square" lIns="91440" tIns="45720" rIns="91440" bIns="45720" numCol="1" anchor="t" anchorCtr="0" compatLnSpc="1">
                <a:prstTxWarp prst="textNoShape">
                  <a:avLst/>
                </a:prstTxWarp>
              </a:bodyPr>
              <a:lstStyle/>
              <a:p>
                <a:endParaRPr lang="fr-FR"/>
              </a:p>
            </p:txBody>
          </p:sp>
        </p:grpSp>
      </p:grpSp>
      <p:sp>
        <p:nvSpPr>
          <p:cNvPr id="5" name="ZoneTexte 4"/>
          <p:cNvSpPr txBox="1"/>
          <p:nvPr/>
        </p:nvSpPr>
        <p:spPr>
          <a:xfrm>
            <a:off x="6556782" y="2424195"/>
            <a:ext cx="4435270" cy="31188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285750" indent="-285750" defTabSz="2438338" hangingPunct="0">
              <a:buFont typeface="Wingdings" panose="05000000000000000000" pitchFamily="2" charset="2"/>
              <a:buChar char="ü"/>
            </a:pPr>
            <a:r>
              <a:rPr lang="fr-FR" sz="1400" b="1">
                <a:solidFill>
                  <a:srgbClr val="5E5E5E"/>
                </a:solidFill>
                <a:sym typeface="Helvetica Neue"/>
              </a:rPr>
              <a:t>Mon espace santé et mes données personnelles : </a:t>
            </a:r>
            <a:r>
              <a:rPr lang="fr-FR" sz="1400">
                <a:solidFill>
                  <a:srgbClr val="5E5E5E"/>
                </a:solidFill>
                <a:sym typeface="Helvetica Neue"/>
              </a:rPr>
              <a:t>répond aux principales questions des usagers à propos de la sécurité des données personnelles dans Mon espace santé </a:t>
            </a:r>
          </a:p>
          <a:p>
            <a:pPr defTabSz="2438338" hangingPunct="0"/>
            <a:endParaRPr kumimoji="0" lang="fr-FR" sz="1400" b="0" i="0" u="none" strike="noStrike" cap="none" spc="0" normalizeH="0" baseline="0">
              <a:ln>
                <a:noFill/>
              </a:ln>
              <a:solidFill>
                <a:srgbClr val="5E5E5E"/>
              </a:solidFill>
              <a:effectLst/>
              <a:uFillTx/>
              <a:sym typeface="Helvetica Neue"/>
            </a:endParaRPr>
          </a:p>
          <a:p>
            <a:pPr marL="285750" indent="-285750" defTabSz="2438338" hangingPunct="0">
              <a:buFont typeface="Wingdings" panose="05000000000000000000" pitchFamily="2" charset="2"/>
              <a:buChar char="ü"/>
            </a:pPr>
            <a:r>
              <a:rPr lang="fr-FR" sz="1400" b="1">
                <a:solidFill>
                  <a:srgbClr val="5E5E5E"/>
                </a:solidFill>
                <a:sym typeface="Helvetica Neue"/>
              </a:rPr>
              <a:t>EDL pour sensibiliser le personnel à Mon espace santé </a:t>
            </a:r>
          </a:p>
          <a:p>
            <a:pPr defTabSz="2438338" hangingPunct="0"/>
            <a:endParaRPr kumimoji="0" lang="fr-FR" sz="1400" b="0" i="0" u="none" strike="noStrike" cap="none" spc="0" normalizeH="0" baseline="0">
              <a:ln>
                <a:noFill/>
              </a:ln>
              <a:solidFill>
                <a:srgbClr val="5E5E5E"/>
              </a:solidFill>
              <a:effectLst/>
              <a:uFillTx/>
              <a:sym typeface="Helvetica Neue"/>
            </a:endParaRPr>
          </a:p>
          <a:p>
            <a:pPr marL="285750" indent="-285750" defTabSz="2438338" hangingPunct="0">
              <a:buFont typeface="Wingdings" panose="05000000000000000000" pitchFamily="2" charset="2"/>
              <a:buChar char="ü"/>
            </a:pPr>
            <a:r>
              <a:rPr lang="fr-FR" sz="1400" b="1">
                <a:solidFill>
                  <a:srgbClr val="5E5E5E"/>
                </a:solidFill>
                <a:sym typeface="Helvetica Neue"/>
              </a:rPr>
              <a:t>EDL à destination des PS pour sensibiliser leur patientèle</a:t>
            </a:r>
            <a:r>
              <a:rPr lang="fr-FR" sz="1400">
                <a:solidFill>
                  <a:srgbClr val="5E5E5E"/>
                </a:solidFill>
                <a:sym typeface="Helvetica Neue"/>
              </a:rPr>
              <a:t> </a:t>
            </a:r>
          </a:p>
          <a:p>
            <a:pPr defTabSz="2438338" hangingPunct="0"/>
            <a:endParaRPr kumimoji="0" lang="fr-FR" sz="1400" b="0" i="0" u="none" strike="noStrike" cap="none" spc="0" normalizeH="0" baseline="0">
              <a:ln>
                <a:noFill/>
              </a:ln>
              <a:solidFill>
                <a:srgbClr val="5E5E5E"/>
              </a:solidFill>
              <a:effectLst/>
              <a:uFillTx/>
              <a:sym typeface="Helvetica Neue"/>
            </a:endParaRPr>
          </a:p>
          <a:p>
            <a:pPr marL="285750" indent="-285750" defTabSz="2438338" hangingPunct="0">
              <a:buFont typeface="Wingdings" panose="05000000000000000000" pitchFamily="2" charset="2"/>
              <a:buChar char="ü"/>
            </a:pPr>
            <a:r>
              <a:rPr lang="fr-FR" sz="1400" b="1">
                <a:solidFill>
                  <a:srgbClr val="5E5E5E"/>
                </a:solidFill>
                <a:sym typeface="Helvetica Neue"/>
              </a:rPr>
              <a:t>Mail type pour informer le personnel de l’établissement </a:t>
            </a:r>
            <a:endParaRPr kumimoji="0" lang="fr-FR" sz="1400" b="1" i="0" u="none" strike="noStrike" cap="none" spc="0" normalizeH="0" baseline="0">
              <a:ln>
                <a:noFill/>
              </a:ln>
              <a:solidFill>
                <a:srgbClr val="5E5E5E"/>
              </a:solidFill>
              <a:effectLst/>
              <a:uFillTx/>
              <a:sym typeface="Helvetica Neue"/>
            </a:endParaRPr>
          </a:p>
          <a:p>
            <a:pPr defTabSz="2438338" hangingPunct="0"/>
            <a:endParaRPr kumimoji="0" lang="fr-FR" sz="1400" b="0" i="0" u="none" strike="noStrike" cap="none" spc="0" normalizeH="0" baseline="0">
              <a:ln>
                <a:noFill/>
              </a:ln>
              <a:solidFill>
                <a:srgbClr val="5E5E5E"/>
              </a:solidFill>
              <a:effectLst/>
              <a:uFillTx/>
              <a:sym typeface="Helvetica Neue"/>
            </a:endParaRPr>
          </a:p>
        </p:txBody>
      </p:sp>
      <p:sp>
        <p:nvSpPr>
          <p:cNvPr id="6" name="ZoneTexte 5">
            <a:extLst>
              <a:ext uri="{FF2B5EF4-FFF2-40B4-BE49-F238E27FC236}">
                <a16:creationId xmlns:a16="http://schemas.microsoft.com/office/drawing/2014/main" id="{CB34FEB1-8D7E-BE56-6ACF-6EA60FDB13C4}"/>
              </a:ext>
            </a:extLst>
          </p:cNvPr>
          <p:cNvSpPr txBox="1"/>
          <p:nvPr/>
        </p:nvSpPr>
        <p:spPr>
          <a:xfrm>
            <a:off x="116316" y="4834185"/>
            <a:ext cx="7848611" cy="11798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lvl="1" defTabSz="2438338">
              <a:spcBef>
                <a:spcPct val="0"/>
              </a:spcBef>
              <a:spcAft>
                <a:spcPct val="0"/>
              </a:spcAft>
            </a:pPr>
            <a:r>
              <a:rPr lang="fr-FR" sz="1400" b="1">
                <a:solidFill>
                  <a:srgbClr val="5E5E5E"/>
                </a:solidFill>
              </a:rPr>
              <a:t>Ressources complémentaires</a:t>
            </a:r>
          </a:p>
          <a:p>
            <a:pPr marL="742950" lvl="1" indent="-285750" defTabSz="2438338">
              <a:spcBef>
                <a:spcPct val="0"/>
              </a:spcBef>
              <a:spcAft>
                <a:spcPct val="0"/>
              </a:spcAft>
              <a:buFont typeface="Arial,Sans-Serif" panose="05000000000000000000" pitchFamily="2" charset="2"/>
              <a:buChar char="•"/>
            </a:pPr>
            <a:r>
              <a:rPr lang="fr-FR" sz="1400" b="1">
                <a:solidFill>
                  <a:srgbClr val="5E5E5E"/>
                </a:solidFill>
                <a:sym typeface="Helvetica Neue"/>
                <a:hlinkClick r:id="rId5">
                  <a:extLst>
                    <a:ext uri="{A12FA001-AC4F-418D-AE19-62706E023703}">
                      <ahyp:hlinkClr xmlns:ahyp="http://schemas.microsoft.com/office/drawing/2018/hyperlinkcolor" val="tx"/>
                    </a:ext>
                  </a:extLst>
                </a:hlinkClick>
              </a:rPr>
              <a:t> ameli.fr</a:t>
            </a:r>
            <a:r>
              <a:rPr lang="fr-FR" sz="1400" b="1">
                <a:solidFill>
                  <a:srgbClr val="5E5E5E"/>
                </a:solidFill>
                <a:sym typeface="Helvetica Neue"/>
              </a:rPr>
              <a:t> (DMP,</a:t>
            </a:r>
            <a:r>
              <a:rPr lang="fr-FR" sz="1400" b="1">
                <a:solidFill>
                  <a:srgbClr val="5E5E5E"/>
                </a:solidFill>
              </a:rPr>
              <a:t> </a:t>
            </a:r>
            <a:r>
              <a:rPr lang="fr-FR" sz="1400" b="1">
                <a:solidFill>
                  <a:srgbClr val="5E5E5E"/>
                </a:solidFill>
                <a:sym typeface="Helvetica Neue"/>
              </a:rPr>
              <a:t>Messagerie, Mon espace santé, etc.) ;</a:t>
            </a:r>
            <a:endParaRPr lang="fr-FR" sz="1400" b="1">
              <a:solidFill>
                <a:srgbClr val="5E5E5E"/>
              </a:solidFill>
            </a:endParaRPr>
          </a:p>
          <a:p>
            <a:pPr marL="742950" lvl="1" indent="-285750" defTabSz="2438338">
              <a:spcBef>
                <a:spcPct val="0"/>
              </a:spcBef>
              <a:spcAft>
                <a:spcPct val="0"/>
              </a:spcAft>
              <a:buFont typeface="Arial,Sans-Serif" panose="05000000000000000000" pitchFamily="2" charset="2"/>
              <a:buChar char="•"/>
            </a:pPr>
            <a:r>
              <a:rPr lang="fr-FR" sz="1400" b="1">
                <a:solidFill>
                  <a:srgbClr val="5E5E5E"/>
                </a:solidFill>
                <a:hlinkClick r:id="rId6">
                  <a:extLst>
                    <a:ext uri="{A12FA001-AC4F-418D-AE19-62706E023703}">
                      <ahyp:hlinkClr xmlns:ahyp="http://schemas.microsoft.com/office/drawing/2018/hyperlinkcolor" val="tx"/>
                    </a:ext>
                  </a:extLst>
                </a:hlinkClick>
              </a:rPr>
              <a:t> monespacesante.fr</a:t>
            </a:r>
            <a:r>
              <a:rPr lang="fr-FR" sz="1400" b="1">
                <a:solidFill>
                  <a:srgbClr val="5E5E5E"/>
                </a:solidFill>
              </a:rPr>
              <a:t> ;</a:t>
            </a:r>
          </a:p>
          <a:p>
            <a:pPr marL="742950" lvl="1" indent="-285750" defTabSz="2438338">
              <a:spcBef>
                <a:spcPct val="0"/>
              </a:spcBef>
              <a:spcAft>
                <a:spcPct val="0"/>
              </a:spcAft>
              <a:buFont typeface="Arial,Sans-Serif" panose="05000000000000000000" pitchFamily="2" charset="2"/>
              <a:buChar char="•"/>
            </a:pPr>
            <a:r>
              <a:rPr lang="fr-FR" sz="1400" b="1">
                <a:solidFill>
                  <a:srgbClr val="5E5E5E"/>
                </a:solidFill>
                <a:sym typeface="Helvetica Neue"/>
                <a:hlinkClick r:id="rId7">
                  <a:extLst>
                    <a:ext uri="{A12FA001-AC4F-418D-AE19-62706E023703}">
                      <ahyp:hlinkClr xmlns:ahyp="http://schemas.microsoft.com/office/drawing/2018/hyperlinkcolor" val="tx"/>
                    </a:ext>
                  </a:extLst>
                </a:hlinkClick>
              </a:rPr>
              <a:t> esante.gouv.fr</a:t>
            </a:r>
            <a:r>
              <a:rPr lang="fr-FR" sz="1400" b="1">
                <a:solidFill>
                  <a:srgbClr val="5E5E5E"/>
                </a:solidFill>
                <a:sym typeface="Helvetica Neue"/>
              </a:rPr>
              <a:t> (boite à outils avec tuto et fiches mémo) ;</a:t>
            </a:r>
            <a:endParaRPr lang="fr-FR" sz="1400" b="1">
              <a:solidFill>
                <a:srgbClr val="5E5E5E"/>
              </a:solidFill>
            </a:endParaRPr>
          </a:p>
          <a:p>
            <a:pPr marL="742950" lvl="1" indent="-285750" defTabSz="2438338">
              <a:spcBef>
                <a:spcPct val="0"/>
              </a:spcBef>
              <a:spcAft>
                <a:spcPct val="0"/>
              </a:spcAft>
              <a:buFont typeface="Arial,Sans-Serif" panose="05000000000000000000" pitchFamily="2" charset="2"/>
              <a:buChar char="•"/>
            </a:pPr>
            <a:r>
              <a:rPr lang="fr-FR" sz="1400" b="1">
                <a:solidFill>
                  <a:srgbClr val="5E5E5E"/>
                </a:solidFill>
              </a:rPr>
              <a:t> dmp.fr (tuto </a:t>
            </a:r>
            <a:r>
              <a:rPr lang="fr-FR" sz="1400" b="1" err="1">
                <a:solidFill>
                  <a:srgbClr val="5E5E5E"/>
                </a:solidFill>
              </a:rPr>
              <a:t>webPS</a:t>
            </a:r>
            <a:r>
              <a:rPr lang="fr-FR" sz="1400" b="1">
                <a:solidFill>
                  <a:srgbClr val="5E5E5E"/>
                </a:solidFill>
              </a:rPr>
              <a:t> DMP, matrice d'habilitation DMP, etc.).</a:t>
            </a:r>
          </a:p>
        </p:txBody>
      </p:sp>
    </p:spTree>
    <p:extLst>
      <p:ext uri="{BB962C8B-B14F-4D97-AF65-F5344CB8AC3E}">
        <p14:creationId xmlns:p14="http://schemas.microsoft.com/office/powerpoint/2010/main" val="1104518658"/>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90831" y="2285599"/>
            <a:ext cx="8680878" cy="1462781"/>
          </a:xfrm>
        </p:spPr>
        <p:txBody>
          <a:bodyPr/>
          <a:lstStyle/>
          <a:p>
            <a:r>
              <a:rPr lang="fr-FR"/>
              <a:t>Questions / Réponses</a:t>
            </a:r>
          </a:p>
        </p:txBody>
      </p:sp>
      <p:sp>
        <p:nvSpPr>
          <p:cNvPr id="3" name="Espace réservé du texte 2"/>
          <p:cNvSpPr>
            <a:spLocks noGrp="1"/>
          </p:cNvSpPr>
          <p:nvPr>
            <p:ph type="body" idx="1"/>
          </p:nvPr>
        </p:nvSpPr>
        <p:spPr/>
        <p:txBody>
          <a:bodyPr/>
          <a:lstStyle/>
          <a:p>
            <a:endParaRPr lang="fr-FR"/>
          </a:p>
        </p:txBody>
      </p:sp>
    </p:spTree>
    <p:extLst>
      <p:ext uri="{BB962C8B-B14F-4D97-AF65-F5344CB8AC3E}">
        <p14:creationId xmlns:p14="http://schemas.microsoft.com/office/powerpoint/2010/main" val="3338227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4C7F171-8853-3342-B8BB-E7AC9437B924}"/>
              </a:ext>
            </a:extLst>
          </p:cNvPr>
          <p:cNvSpPr>
            <a:spLocks noGrp="1"/>
          </p:cNvSpPr>
          <p:nvPr>
            <p:ph type="title"/>
          </p:nvPr>
        </p:nvSpPr>
        <p:spPr>
          <a:xfrm>
            <a:off x="490831" y="2285599"/>
            <a:ext cx="9114987" cy="2316881"/>
          </a:xfrm>
        </p:spPr>
        <p:txBody>
          <a:bodyPr>
            <a:normAutofit/>
          </a:bodyPr>
          <a:lstStyle/>
          <a:p>
            <a:r>
              <a:rPr lang="fr-FR"/>
              <a:t>L’histoire de Mon espace santé</a:t>
            </a:r>
          </a:p>
        </p:txBody>
      </p:sp>
    </p:spTree>
    <p:extLst>
      <p:ext uri="{BB962C8B-B14F-4D97-AF65-F5344CB8AC3E}">
        <p14:creationId xmlns:p14="http://schemas.microsoft.com/office/powerpoint/2010/main" val="17621609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Tout commence avec le DMP </a:t>
            </a:r>
            <a:endParaRPr lang="fr-FR" sz="1800">
              <a:solidFill>
                <a:srgbClr val="E73083"/>
              </a:solidFill>
            </a:endParaRPr>
          </a:p>
        </p:txBody>
      </p:sp>
      <p:grpSp>
        <p:nvGrpSpPr>
          <p:cNvPr id="32" name="Group 8">
            <a:extLst>
              <a:ext uri="{FF2B5EF4-FFF2-40B4-BE49-F238E27FC236}">
                <a16:creationId xmlns:a16="http://schemas.microsoft.com/office/drawing/2014/main" id="{111B3809-C29B-45FF-937B-89EDBC3725CC}"/>
              </a:ext>
            </a:extLst>
          </p:cNvPr>
          <p:cNvGrpSpPr/>
          <p:nvPr/>
        </p:nvGrpSpPr>
        <p:grpSpPr>
          <a:xfrm>
            <a:off x="340141" y="3363624"/>
            <a:ext cx="11377982" cy="2462213"/>
            <a:chOff x="255599" y="1160092"/>
            <a:chExt cx="11377982" cy="2462213"/>
          </a:xfrm>
        </p:grpSpPr>
        <p:sp>
          <p:nvSpPr>
            <p:cNvPr id="33" name="Rectangle 32">
              <a:extLst>
                <a:ext uri="{FF2B5EF4-FFF2-40B4-BE49-F238E27FC236}">
                  <a16:creationId xmlns:a16="http://schemas.microsoft.com/office/drawing/2014/main" id="{7DE53495-F6BB-4D1F-BABF-7562CA6238E0}"/>
                </a:ext>
              </a:extLst>
            </p:cNvPr>
            <p:cNvSpPr/>
            <p:nvPr/>
          </p:nvSpPr>
          <p:spPr>
            <a:xfrm>
              <a:off x="255599" y="1160092"/>
              <a:ext cx="11377982" cy="2462213"/>
            </a:xfrm>
            <a:prstGeom prst="rect">
              <a:avLst/>
            </a:prstGeom>
            <a:solidFill>
              <a:sysClr val="window" lastClr="FFFFFF">
                <a:lumMod val="95000"/>
              </a:sysClr>
            </a:solidFill>
            <a:ln w="12700" cap="flat">
              <a:noFill/>
              <a:miter lim="400000"/>
            </a:ln>
            <a:effectLst/>
            <a:sp3d/>
          </p:spPr>
          <p:txBody>
            <a:bodyPr rot="0" spcFirstLastPara="1" vert="horz" wrap="square" lIns="0" tIns="0" rIns="0" bIns="0" numCol="1" spcCol="38100" rtlCol="0"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p:txBody>
        </p:sp>
        <p:sp>
          <p:nvSpPr>
            <p:cNvPr id="34" name="TextBox 4">
              <a:extLst>
                <a:ext uri="{FF2B5EF4-FFF2-40B4-BE49-F238E27FC236}">
                  <a16:creationId xmlns:a16="http://schemas.microsoft.com/office/drawing/2014/main" id="{70B82E98-2C24-4322-985D-C61673D38CC2}"/>
                </a:ext>
              </a:extLst>
            </p:cNvPr>
            <p:cNvSpPr txBox="1"/>
            <p:nvPr/>
          </p:nvSpPr>
          <p:spPr>
            <a:xfrm>
              <a:off x="760477" y="1743360"/>
              <a:ext cx="10003501" cy="1446550"/>
            </a:xfrm>
            <a:prstGeom prst="rect">
              <a:avLst/>
            </a:prstGeom>
            <a:noFill/>
          </p:spPr>
          <p:txBody>
            <a:bodyPr rot="0" spcFirstLastPara="0" vert="horz" wrap="square" lIns="0" tIns="36576" rIns="0" bIns="0" numCol="1" spcCol="0" rtlCol="0" fromWordArt="0" anchor="t" anchorCtr="0" forceAA="0" compatLnSpc="1">
              <a:prstTxWarp prst="textNoShape">
                <a:avLst/>
              </a:prstTxWarp>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6235" marR="0" lvl="0" indent="-35623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Le Dossier Médical Partagé (DMP) est un carnet de santé </a:t>
              </a:r>
              <a:r>
                <a:rPr kumimoji="0" lang="fr-FR" sz="1600" b="1" i="0" u="none" strike="noStrike" kern="1200" cap="none" spc="0" normalizeH="0" baseline="0" noProof="0">
                  <a:ln>
                    <a:noFill/>
                  </a:ln>
                  <a:solidFill>
                    <a:srgbClr val="545859"/>
                  </a:solidFill>
                  <a:effectLst/>
                  <a:uLnTx/>
                  <a:uFillTx/>
                  <a:latin typeface="Arial" panose="020B0604020202020204"/>
                  <a:ea typeface="+mn-ea"/>
                  <a:cs typeface="+mn-cs"/>
                </a:rPr>
                <a:t>informatisé</a:t>
              </a: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 et </a:t>
              </a:r>
              <a:r>
                <a:rPr kumimoji="0" lang="fr-FR" sz="1600" b="1" i="0" u="none" strike="noStrike" kern="1200" cap="none" spc="0" normalizeH="0" baseline="0" noProof="0">
                  <a:ln>
                    <a:noFill/>
                  </a:ln>
                  <a:solidFill>
                    <a:srgbClr val="545859"/>
                  </a:solidFill>
                  <a:effectLst/>
                  <a:uLnTx/>
                  <a:uFillTx/>
                  <a:latin typeface="Arial" panose="020B0604020202020204"/>
                  <a:ea typeface="+mn-ea"/>
                  <a:cs typeface="+mn-cs"/>
                </a:rPr>
                <a:t>sécurisé, accessible en ligne</a:t>
              </a:r>
              <a:endParaRPr kumimoji="0" lang="fr-FR" sz="1600" b="0" i="0" u="none" strike="noStrike" kern="1200" cap="none" spc="0" normalizeH="0" baseline="0" noProof="0">
                <a:ln>
                  <a:noFill/>
                </a:ln>
                <a:solidFill>
                  <a:srgbClr val="545859"/>
                </a:solidFill>
                <a:effectLst/>
                <a:uLnTx/>
                <a:uFillTx/>
                <a:latin typeface="Arial" panose="020B0604020202020204"/>
                <a:ea typeface="+mn-ea"/>
                <a:cs typeface="+mn-cs"/>
              </a:endParaRPr>
            </a:p>
            <a:p>
              <a:pPr marL="356235" indent="-356235">
                <a:lnSpc>
                  <a:spcPct val="85000"/>
                </a:lnSpc>
                <a:spcAft>
                  <a:spcPts val="600"/>
                </a:spcAft>
                <a:buClr>
                  <a:srgbClr val="FFE600"/>
                </a:buClr>
                <a:buSzPct val="70000"/>
                <a:buFont typeface="Arial" pitchFamily="34" charset="0"/>
                <a:buChar char="►"/>
                <a:defRPr/>
              </a:pP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Il contient </a:t>
              </a:r>
              <a:r>
                <a:rPr kumimoji="0" lang="fr-FR" sz="1600" b="1" i="0" u="none" strike="noStrike" kern="1200" cap="none" spc="0" normalizeH="0" baseline="0" noProof="0">
                  <a:ln>
                    <a:noFill/>
                  </a:ln>
                  <a:solidFill>
                    <a:srgbClr val="545859"/>
                  </a:solidFill>
                  <a:effectLst/>
                  <a:uLnTx/>
                  <a:uFillTx/>
                  <a:latin typeface="Arial" panose="020B0604020202020204"/>
                  <a:ea typeface="+mn-ea"/>
                  <a:cs typeface="+mn-cs"/>
                </a:rPr>
                <a:t>toutes les informations de </a:t>
              </a:r>
              <a:r>
                <a:rPr lang="fr-FR" sz="1600" b="1">
                  <a:solidFill>
                    <a:srgbClr val="545859"/>
                  </a:solidFill>
                  <a:latin typeface="Arial" panose="020B0604020202020204"/>
                </a:rPr>
                <a:t>santé </a:t>
              </a: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de l’usager : comptes rendus hospitaliers et radiologiques, résultats d'analyses de biologie, antécédents et allergies, actes importants réalisés, don d’organes, directives anticipées...</a:t>
              </a:r>
            </a:p>
            <a:p>
              <a:pPr marL="356235" marR="0" lvl="0" indent="-356235" algn="l" defTabSz="914400" rtl="0" eaLnBrk="1" fontAlgn="auto" latinLnBrk="0" hangingPunct="1">
                <a:lnSpc>
                  <a:spcPct val="85000"/>
                </a:lnSpc>
                <a:spcBef>
                  <a:spcPts val="0"/>
                </a:spcBef>
                <a:spcAft>
                  <a:spcPts val="600"/>
                </a:spcAft>
                <a:buClr>
                  <a:srgbClr val="FFE600"/>
                </a:buClr>
                <a:buSzPct val="70000"/>
                <a:buFont typeface="Arial" pitchFamily="34" charset="0"/>
                <a:buChar char="►"/>
                <a:tabLst/>
                <a:defRPr/>
              </a:pP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Il permet à l’usager de </a:t>
              </a:r>
              <a:r>
                <a:rPr kumimoji="0" lang="fr-FR" sz="1600" b="1" i="0" u="none" strike="noStrike" kern="1200" cap="none" spc="0" normalizeH="0" baseline="0" noProof="0">
                  <a:ln>
                    <a:noFill/>
                  </a:ln>
                  <a:solidFill>
                    <a:srgbClr val="545859"/>
                  </a:solidFill>
                  <a:effectLst/>
                  <a:uLnTx/>
                  <a:uFillTx/>
                  <a:latin typeface="Arial" panose="020B0604020202020204"/>
                  <a:ea typeface="+mn-ea"/>
                  <a:cs typeface="+mn-cs"/>
                </a:rPr>
                <a:t>partager ses informations </a:t>
              </a:r>
              <a:r>
                <a:rPr kumimoji="0" lang="fr-FR" sz="1600" b="0" i="0" u="none" strike="noStrike" kern="1200" cap="none" spc="0" normalizeH="0" baseline="0" noProof="0">
                  <a:ln>
                    <a:noFill/>
                  </a:ln>
                  <a:solidFill>
                    <a:srgbClr val="545859"/>
                  </a:solidFill>
                  <a:effectLst/>
                  <a:uLnTx/>
                  <a:uFillTx/>
                  <a:latin typeface="Arial" panose="020B0604020202020204"/>
                  <a:ea typeface="+mn-ea"/>
                  <a:cs typeface="+mn-cs"/>
                </a:rPr>
                <a:t>de santé avec les professionnels de santé de son choix, afin d’améliorer sa prise en charge. </a:t>
              </a:r>
              <a:endParaRPr kumimoji="0" lang="fr-FR" sz="1600" b="0" i="0" u="none" strike="noStrike" kern="1200" cap="none" spc="0" normalizeH="0" baseline="0" noProof="0">
                <a:ln>
                  <a:noFill/>
                </a:ln>
                <a:solidFill>
                  <a:srgbClr val="545859"/>
                </a:solidFill>
                <a:effectLst/>
                <a:uLnTx/>
                <a:uFillTx/>
                <a:latin typeface="Arial" panose="020B0604020202020204"/>
                <a:ea typeface="+mn-ea"/>
                <a:cs typeface="EucrosiaUPC" panose="020B0502040204020203" pitchFamily="18" charset="-34"/>
              </a:endParaRPr>
            </a:p>
          </p:txBody>
        </p:sp>
        <p:sp>
          <p:nvSpPr>
            <p:cNvPr id="35" name="TextBox 9">
              <a:extLst>
                <a:ext uri="{FF2B5EF4-FFF2-40B4-BE49-F238E27FC236}">
                  <a16:creationId xmlns:a16="http://schemas.microsoft.com/office/drawing/2014/main" id="{FF55DBEE-95AB-4011-9DE8-64BA87F055AC}"/>
                </a:ext>
              </a:extLst>
            </p:cNvPr>
            <p:cNvSpPr txBox="1"/>
            <p:nvPr/>
          </p:nvSpPr>
          <p:spPr>
            <a:xfrm>
              <a:off x="356425" y="1329598"/>
              <a:ext cx="2633472" cy="272382"/>
            </a:xfrm>
            <a:prstGeom prst="rect">
              <a:avLst/>
            </a:prstGeom>
            <a:noFill/>
          </p:spPr>
          <p:txBody>
            <a:bodyPr rot="0" spcFirstLastPara="0" vert="horz" wrap="square" lIns="0" tIns="36576" rIns="0" bIns="0" numCol="1" spcCol="0" rtlCol="0" fromWordArt="0" anchor="t" anchorCtr="0" forceAA="0" compatLnSpc="1">
              <a:prstTxWarp prst="textNoShape">
                <a:avLst/>
              </a:prstTxWarp>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5000"/>
                </a:lnSpc>
                <a:spcBef>
                  <a:spcPts val="0"/>
                </a:spcBef>
                <a:spcAft>
                  <a:spcPts val="600"/>
                </a:spcAft>
                <a:buClr>
                  <a:srgbClr val="808080"/>
                </a:buClr>
                <a:buSzPct val="70000"/>
                <a:buFontTx/>
                <a:buNone/>
                <a:tabLst/>
                <a:defRPr/>
              </a:pPr>
              <a:r>
                <a:rPr kumimoji="0" lang="fr-FR" sz="1800" b="1" i="0" u="none" strike="noStrike" kern="1200" cap="none" spc="0" normalizeH="0" baseline="0" noProof="0">
                  <a:ln>
                    <a:noFill/>
                  </a:ln>
                  <a:solidFill>
                    <a:srgbClr val="545859"/>
                  </a:solidFill>
                  <a:effectLst/>
                  <a:uLnTx/>
                  <a:uFillTx/>
                  <a:latin typeface="Arial" panose="020B0604020202020204"/>
                  <a:ea typeface="+mn-ea"/>
                  <a:cs typeface="Arial"/>
                </a:rPr>
                <a:t>Le DMP en bref </a:t>
              </a:r>
            </a:p>
          </p:txBody>
        </p:sp>
        <p:sp>
          <p:nvSpPr>
            <p:cNvPr id="36" name="Ellipse 1">
              <a:extLst>
                <a:ext uri="{FF2B5EF4-FFF2-40B4-BE49-F238E27FC236}">
                  <a16:creationId xmlns:a16="http://schemas.microsoft.com/office/drawing/2014/main" id="{D6AA9163-1D53-4673-8063-323C7A9A2DF8}"/>
                </a:ext>
              </a:extLst>
            </p:cNvPr>
            <p:cNvSpPr/>
            <p:nvPr/>
          </p:nvSpPr>
          <p:spPr>
            <a:xfrm>
              <a:off x="456559" y="1329598"/>
              <a:ext cx="272382" cy="272382"/>
            </a:xfrm>
            <a:prstGeom prst="ellipse">
              <a:avLst/>
            </a:prstGeom>
            <a:solidFill>
              <a:srgbClr val="0C419A"/>
            </a:solidFill>
            <a:ln w="12700" cap="flat" cmpd="sng" algn="ctr">
              <a:solidFill>
                <a:srgbClr val="298478">
                  <a:shade val="50000"/>
                </a:srgbClr>
              </a:solidFill>
              <a:prstDash val="solid"/>
              <a:miter lim="800000"/>
            </a:ln>
            <a:effectLst/>
          </p:spPr>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ysClr val="window" lastClr="FFFFFF"/>
                  </a:solidFill>
                  <a:effectLst/>
                  <a:uLnTx/>
                  <a:uFillTx/>
                  <a:latin typeface="Arial" panose="020B0604020202020204"/>
                  <a:ea typeface="+mn-ea"/>
                  <a:cs typeface="+mn-cs"/>
                </a:rPr>
                <a:t>?</a:t>
              </a:r>
            </a:p>
          </p:txBody>
        </p:sp>
      </p:grpSp>
      <p:grpSp>
        <p:nvGrpSpPr>
          <p:cNvPr id="37" name="Group 7">
            <a:extLst>
              <a:ext uri="{FF2B5EF4-FFF2-40B4-BE49-F238E27FC236}">
                <a16:creationId xmlns:a16="http://schemas.microsoft.com/office/drawing/2014/main" id="{C035BDA8-A883-413B-AFD5-97960EBCD5D9}"/>
              </a:ext>
            </a:extLst>
          </p:cNvPr>
          <p:cNvGrpSpPr/>
          <p:nvPr/>
        </p:nvGrpSpPr>
        <p:grpSpPr>
          <a:xfrm>
            <a:off x="1250202" y="1202334"/>
            <a:ext cx="9693673" cy="2039162"/>
            <a:chOff x="760477" y="3763685"/>
            <a:chExt cx="9693673" cy="2039162"/>
          </a:xfrm>
        </p:grpSpPr>
        <p:pic>
          <p:nvPicPr>
            <p:cNvPr id="38" name="Picture 3">
              <a:extLst>
                <a:ext uri="{FF2B5EF4-FFF2-40B4-BE49-F238E27FC236}">
                  <a16:creationId xmlns:a16="http://schemas.microsoft.com/office/drawing/2014/main" id="{BEE0158C-4178-4302-B63D-55EF30A45200}"/>
                </a:ext>
              </a:extLst>
            </p:cNvPr>
            <p:cNvPicPr>
              <a:picLocks noChangeAspect="1"/>
            </p:cNvPicPr>
            <p:nvPr/>
          </p:nvPicPr>
          <p:blipFill>
            <a:blip r:embed="rId3"/>
            <a:stretch>
              <a:fillRect/>
            </a:stretch>
          </p:blipFill>
          <p:spPr>
            <a:xfrm>
              <a:off x="760477" y="3763685"/>
              <a:ext cx="9693673" cy="2039162"/>
            </a:xfrm>
            <a:prstGeom prst="rect">
              <a:avLst/>
            </a:prstGeom>
          </p:spPr>
        </p:pic>
        <p:sp>
          <p:nvSpPr>
            <p:cNvPr id="39" name="Rectangle 38">
              <a:extLst>
                <a:ext uri="{FF2B5EF4-FFF2-40B4-BE49-F238E27FC236}">
                  <a16:creationId xmlns:a16="http://schemas.microsoft.com/office/drawing/2014/main" id="{DF896910-6A39-4D94-8E37-73BA18E39BCE}"/>
                </a:ext>
              </a:extLst>
            </p:cNvPr>
            <p:cNvSpPr/>
            <p:nvPr/>
          </p:nvSpPr>
          <p:spPr>
            <a:xfrm>
              <a:off x="9740900" y="3881889"/>
              <a:ext cx="713250" cy="114731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grpSp>
    </p:spTree>
    <p:extLst>
      <p:ext uri="{BB962C8B-B14F-4D97-AF65-F5344CB8AC3E}">
        <p14:creationId xmlns:p14="http://schemas.microsoft.com/office/powerpoint/2010/main" val="2626581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Tout commence avec le DMP </a:t>
            </a:r>
            <a:endParaRPr lang="fr-FR" sz="1800">
              <a:solidFill>
                <a:srgbClr val="E73083"/>
              </a:solidFill>
            </a:endParaRPr>
          </a:p>
        </p:txBody>
      </p:sp>
      <p:sp>
        <p:nvSpPr>
          <p:cNvPr id="11" name="Rectangle 10">
            <a:extLst>
              <a:ext uri="{FF2B5EF4-FFF2-40B4-BE49-F238E27FC236}">
                <a16:creationId xmlns:a16="http://schemas.microsoft.com/office/drawing/2014/main" id="{007B68F3-5B69-48ED-8F43-77CE6EB1DC75}"/>
              </a:ext>
            </a:extLst>
          </p:cNvPr>
          <p:cNvSpPr/>
          <p:nvPr/>
        </p:nvSpPr>
        <p:spPr>
          <a:xfrm>
            <a:off x="6476749" y="1064256"/>
            <a:ext cx="5381316" cy="4752000"/>
          </a:xfrm>
          <a:prstGeom prst="rect">
            <a:avLst/>
          </a:prstGeom>
          <a:solidFill>
            <a:srgbClr val="F2F2F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fr-FR"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2" name="Rectangle 11">
            <a:extLst>
              <a:ext uri="{FF2B5EF4-FFF2-40B4-BE49-F238E27FC236}">
                <a16:creationId xmlns:a16="http://schemas.microsoft.com/office/drawing/2014/main" id="{09903D29-1FB7-4CAB-B42E-79A7EF20312D}"/>
              </a:ext>
            </a:extLst>
          </p:cNvPr>
          <p:cNvSpPr/>
          <p:nvPr/>
        </p:nvSpPr>
        <p:spPr>
          <a:xfrm>
            <a:off x="349134" y="2224222"/>
            <a:ext cx="5622792" cy="2462213"/>
          </a:xfrm>
          <a:prstGeom prst="rect">
            <a:avLst/>
          </a:prstGeom>
          <a:solidFill>
            <a:sysClr val="window" lastClr="FFFFFF">
              <a:lumMod val="95000"/>
            </a:sysClr>
          </a:solidFill>
          <a:ln w="12700" cap="flat">
            <a:noFill/>
            <a:miter lim="400000"/>
          </a:ln>
          <a:effectLst/>
          <a:sp3d/>
        </p:spPr>
        <p:txBody>
          <a:bodyPr rot="0" spcFirstLastPara="1" vert="horz" wrap="square" lIns="0" tIns="0" rIns="0" bIns="0" numCol="1" spcCol="38100" rtlCol="0" anchor="ctr">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endParaRPr>
          </a:p>
          <a:p>
            <a:pPr marL="0" marR="0" lvl="0" indent="0" algn="ctr" defTabSz="825500" rtl="0" eaLnBrk="1" fontAlgn="auto" latinLnBrk="0" hangingPunct="0">
              <a:lnSpc>
                <a:spcPct val="100000"/>
              </a:lnSpc>
              <a:spcBef>
                <a:spcPts val="0"/>
              </a:spcBef>
              <a:spcAft>
                <a:spcPts val="0"/>
              </a:spcAft>
              <a:buClrTx/>
              <a:buSzTx/>
              <a:buFontTx/>
              <a:buNone/>
              <a:tabLst/>
              <a:defRPr/>
            </a:pPr>
            <a:r>
              <a:rPr kumimoji="0" lang="fr-FR" sz="3200" b="0" i="0" u="none" strike="noStrike" kern="1200" cap="none" spc="0" normalizeH="0" baseline="0" noProof="0">
                <a:ln>
                  <a:noFill/>
                </a:ln>
                <a:solidFill>
                  <a:srgbClr val="545859"/>
                </a:solidFill>
                <a:effectLst/>
                <a:uLnTx/>
                <a:uFillTx/>
                <a:latin typeface="Arial" panose="020B0604020202020204"/>
                <a:ea typeface="+mn-ea"/>
                <a:cs typeface="+mn-cs"/>
                <a:sym typeface="Helvetica Neue Medium"/>
              </a:rPr>
              <a:t> </a:t>
            </a:r>
          </a:p>
        </p:txBody>
      </p:sp>
      <p:sp>
        <p:nvSpPr>
          <p:cNvPr id="13" name="Espace réservé du texte 1">
            <a:extLst>
              <a:ext uri="{FF2B5EF4-FFF2-40B4-BE49-F238E27FC236}">
                <a16:creationId xmlns:a16="http://schemas.microsoft.com/office/drawing/2014/main" id="{93E994B8-7C42-4F8A-A6E5-6EEF0F8F0CE4}"/>
              </a:ext>
            </a:extLst>
          </p:cNvPr>
          <p:cNvSpPr txBox="1">
            <a:spLocks/>
          </p:cNvSpPr>
          <p:nvPr/>
        </p:nvSpPr>
        <p:spPr>
          <a:xfrm>
            <a:off x="6720973" y="1279419"/>
            <a:ext cx="5669348" cy="3767137"/>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fontAlgn="auto">
              <a:buClr>
                <a:srgbClr val="007FAD"/>
              </a:buClr>
              <a:buSzTx/>
              <a:tabLst/>
              <a:defRPr/>
            </a:pPr>
            <a:r>
              <a:rPr lang="fr-FR" sz="2600" b="1">
                <a:solidFill>
                  <a:srgbClr val="0C419A"/>
                </a:solidFill>
                <a:latin typeface="Arial" panose="020B0604020202020204"/>
              </a:rPr>
              <a:t>Interopérabilité des logiciels </a:t>
            </a: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endParaRPr kumimoji="0" lang="fr-FR" sz="1100" b="1" i="0" u="none" strike="noStrike" kern="1200" cap="none" spc="0" normalizeH="0" baseline="0" noProof="0">
              <a:ln>
                <a:noFill/>
              </a:ln>
              <a:solidFill>
                <a:srgbClr val="0C419A"/>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Pour qu’un professionnel de santé ou un établissement puisse envoyer un document à un patient dans le DMP, il faut que les documents soient structurés de la même manière. </a:t>
            </a:r>
          </a:p>
          <a:p>
            <a:pPr marL="0" marR="0" lvl="0" indent="0" algn="l" defTabSz="914400" rtl="0" eaLnBrk="1" fontAlgn="auto" latinLnBrk="0" hangingPunct="1">
              <a:lnSpc>
                <a:spcPct val="110000"/>
              </a:lnSpc>
              <a:spcBef>
                <a:spcPts val="600"/>
              </a:spcBef>
              <a:spcAft>
                <a:spcPts val="0"/>
              </a:spcAft>
              <a:buClr>
                <a:srgbClr val="007FAD"/>
              </a:buClr>
              <a:buSzTx/>
              <a:buFont typeface="Symbol" panose="05050102010706020507" pitchFamily="18" charset="2"/>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Tous les logiciels doivent respecter les mêmes normes.</a:t>
            </a:r>
          </a:p>
        </p:txBody>
      </p:sp>
      <p:sp>
        <p:nvSpPr>
          <p:cNvPr id="14" name="Espace réservé du texte 1">
            <a:extLst>
              <a:ext uri="{FF2B5EF4-FFF2-40B4-BE49-F238E27FC236}">
                <a16:creationId xmlns:a16="http://schemas.microsoft.com/office/drawing/2014/main" id="{5872F52D-98FE-4CA0-A98E-AD26E9AAE01B}"/>
              </a:ext>
            </a:extLst>
          </p:cNvPr>
          <p:cNvSpPr txBox="1">
            <a:spLocks/>
          </p:cNvSpPr>
          <p:nvPr/>
        </p:nvSpPr>
        <p:spPr>
          <a:xfrm>
            <a:off x="700973" y="1279419"/>
            <a:ext cx="5381316" cy="4728971"/>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7FAD"/>
              </a:buClr>
            </a:pPr>
            <a:r>
              <a:rPr lang="fr-FR" sz="2600" b="1">
                <a:solidFill>
                  <a:srgbClr val="0C419A"/>
                </a:solidFill>
                <a:latin typeface="Arial" panose="020B0604020202020204"/>
              </a:rPr>
              <a:t>Cercle vicieux de l’alimentation</a:t>
            </a:r>
          </a:p>
          <a:p>
            <a:pPr>
              <a:buClr>
                <a:srgbClr val="007FAD"/>
              </a:buClr>
            </a:pPr>
            <a:endParaRPr lang="fr-FR" b="1">
              <a:solidFill>
                <a:srgbClr val="007FAD"/>
              </a:solidFill>
              <a:latin typeface="Arial" panose="020B0604020202020204"/>
            </a:endParaRPr>
          </a:p>
          <a:p>
            <a:pPr>
              <a:buClr>
                <a:srgbClr val="007FAD"/>
              </a:buClr>
            </a:pPr>
            <a:r>
              <a:rPr lang="fr-FR" b="1">
                <a:solidFill>
                  <a:srgbClr val="007FAD"/>
                </a:solidFill>
                <a:latin typeface="Arial" panose="020B0604020202020204"/>
              </a:rPr>
              <a:t> </a:t>
            </a: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a:p>
            <a:pPr>
              <a:buClr>
                <a:srgbClr val="007FAD"/>
              </a:buClr>
            </a:pPr>
            <a:endParaRPr lang="fr-FR" b="1">
              <a:solidFill>
                <a:srgbClr val="007FAD"/>
              </a:solidFill>
              <a:latin typeface="Arial" panose="020B0604020202020204"/>
            </a:endParaRPr>
          </a:p>
        </p:txBody>
      </p:sp>
      <p:pic>
        <p:nvPicPr>
          <p:cNvPr id="15" name="Picture 2" descr="https://www.dedalus-france.fr/wp-content/uploads/2020/10/Sch%C3%A9ma-web-Orbis-F-parc.png">
            <a:extLst>
              <a:ext uri="{FF2B5EF4-FFF2-40B4-BE49-F238E27FC236}">
                <a16:creationId xmlns:a16="http://schemas.microsoft.com/office/drawing/2014/main" id="{2FCD7DB8-0F1E-42E7-A088-E27F340BAB1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27765" y="3207774"/>
            <a:ext cx="2736304" cy="214202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Diagramme 7">
            <a:extLst>
              <a:ext uri="{FF2B5EF4-FFF2-40B4-BE49-F238E27FC236}">
                <a16:creationId xmlns:a16="http://schemas.microsoft.com/office/drawing/2014/main" id="{4AA6885F-35C0-4339-85DE-0A2B333E7204}"/>
              </a:ext>
            </a:extLst>
          </p:cNvPr>
          <p:cNvGraphicFramePr/>
          <p:nvPr>
            <p:extLst>
              <p:ext uri="{D42A27DB-BD31-4B8C-83A1-F6EECF244321}">
                <p14:modId xmlns:p14="http://schemas.microsoft.com/office/powerpoint/2010/main" val="3490488640"/>
              </p:ext>
            </p:extLst>
          </p:nvPr>
        </p:nvGraphicFramePr>
        <p:xfrm>
          <a:off x="-127065" y="2198276"/>
          <a:ext cx="6627312" cy="296745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7713162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Une loi passe en juillet 2019 pour transformer le DMP</a:t>
            </a:r>
            <a:endParaRPr lang="fr-FR" sz="1800">
              <a:solidFill>
                <a:srgbClr val="E73083"/>
              </a:solidFill>
            </a:endParaRPr>
          </a:p>
        </p:txBody>
      </p:sp>
      <p:sp>
        <p:nvSpPr>
          <p:cNvPr id="9" name="Espace réservé du texte 1">
            <a:extLst>
              <a:ext uri="{FF2B5EF4-FFF2-40B4-BE49-F238E27FC236}">
                <a16:creationId xmlns:a16="http://schemas.microsoft.com/office/drawing/2014/main" id="{19416DFD-82DA-4941-A3D4-F4E374C4AA9E}"/>
              </a:ext>
            </a:extLst>
          </p:cNvPr>
          <p:cNvSpPr txBox="1">
            <a:spLocks/>
          </p:cNvSpPr>
          <p:nvPr/>
        </p:nvSpPr>
        <p:spPr>
          <a:xfrm>
            <a:off x="2596895" y="1426559"/>
            <a:ext cx="9066277" cy="4537869"/>
          </a:xfrm>
          <a:prstGeom prst="rect">
            <a:avLst/>
          </a:prstGeom>
          <a:ln w="3175">
            <a:noFill/>
          </a:ln>
        </p:spPr>
        <p:txBody>
          <a:bodyPr vert="horz" lIns="91440" tIns="45720" rIns="91440" bIns="45720" rtlCol="0">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 loi prévoit l’arrivée </a:t>
            </a:r>
            <a:r>
              <a:rPr kumimoji="0" lang="fr-FR" sz="24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d’un espace numérique de santé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pour toute personne au 1</a:t>
            </a:r>
            <a:r>
              <a:rPr kumimoji="0" lang="fr-FR" sz="1800" b="0" i="0" u="none" strike="noStrike" kern="1200" cap="none" spc="0" normalizeH="0" baseline="30000" noProof="0">
                <a:ln>
                  <a:noFill/>
                </a:ln>
                <a:solidFill>
                  <a:srgbClr val="545859"/>
                </a:solidFill>
                <a:effectLst/>
                <a:uLnTx/>
                <a:uFillTx/>
                <a:latin typeface="Arial" panose="020B0604020202020204" pitchFamily="34" charset="0"/>
                <a:ea typeface="+mn-ea"/>
                <a:cs typeface="Arial" panose="020B0604020202020204" pitchFamily="34" charset="0"/>
              </a:rPr>
              <a:t>er</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janvier 2022.</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mbition</a:t>
            </a:r>
            <a:r>
              <a:rPr kumimoji="0" lang="fr-FR" sz="1800" b="0" i="0" u="none" strike="noStrike" kern="1200" cap="none" spc="0" normalizeH="0" noProof="0">
                <a:ln>
                  <a:noFill/>
                </a:ln>
                <a:solidFill>
                  <a:srgbClr val="545859"/>
                </a:solidFill>
                <a:effectLst/>
                <a:uLnTx/>
                <a:uFillTx/>
                <a:latin typeface="Arial" panose="020B0604020202020204" pitchFamily="34" charset="0"/>
                <a:ea typeface="+mn-ea"/>
                <a:cs typeface="Arial" panose="020B0604020202020204" pitchFamily="34" charset="0"/>
              </a:rPr>
              <a:t> était de </a:t>
            </a:r>
            <a:r>
              <a:rPr kumimoji="0" lang="fr-FR" sz="24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donner la main au patient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pour gérer ses données de santé et pour faciliter la coordination des soins entre professionnels.</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La loi définit les grands principes de fonctionnement de l’espace numérique de santé : fonctionnalité et mode d’accès des professionnels et établissements de santé. </a:t>
            </a:r>
            <a:r>
              <a:rPr lang="fr-FR" sz="1800">
                <a:solidFill>
                  <a:srgbClr val="545859"/>
                </a:solidFill>
                <a:latin typeface="Arial" panose="020B0604020202020204" pitchFamily="34" charset="0"/>
                <a:cs typeface="Arial" panose="020B0604020202020204" pitchFamily="34" charset="0"/>
              </a:rPr>
              <a:t>Elle</a:t>
            </a:r>
            <a:r>
              <a:rPr kumimoji="0" lang="fr-FR" sz="2000" b="1"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a:t>
            </a:r>
            <a:r>
              <a:rPr lang="fr-FR" sz="2400" b="1">
                <a:solidFill>
                  <a:srgbClr val="DF2680"/>
                </a:solidFill>
                <a:latin typeface="Arial" panose="020B0604020202020204" pitchFamily="34" charset="0"/>
                <a:cs typeface="Arial" panose="020B0604020202020204" pitchFamily="34" charset="0"/>
              </a:rPr>
              <a:t>élargit le périmètre du DMP</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 qui devient une brique de Mon espace santé.</a:t>
            </a: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endParaRPr>
          </a:p>
          <a:p>
            <a:pPr marL="90488" marR="0" lvl="2" indent="0" defTabSz="914400" rtl="0" eaLnBrk="1" fontAlgn="auto" latinLnBrk="0" hangingPunct="1">
              <a:lnSpc>
                <a:spcPct val="85000"/>
              </a:lnSpc>
              <a:spcBef>
                <a:spcPts val="0"/>
              </a:spcBef>
              <a:spcAft>
                <a:spcPts val="800"/>
              </a:spcAft>
              <a:buClr>
                <a:srgbClr val="1F4E79"/>
              </a:buClr>
              <a:buSzPct val="70000"/>
              <a:buFont typeface="Arial" panose="020B0604020202020204" pitchFamily="34" charset="0"/>
              <a:buNone/>
              <a:tabLst/>
              <a:defRPr/>
            </a:pP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Elle instaure le principe de </a:t>
            </a:r>
            <a:r>
              <a:rPr kumimoji="0" lang="fr-FR" sz="2000" b="1" i="0" u="none" strike="noStrike" kern="1200" cap="none" spc="0" normalizeH="0" baseline="0" noProof="0">
                <a:ln>
                  <a:noFill/>
                </a:ln>
                <a:solidFill>
                  <a:srgbClr val="DF2680"/>
                </a:solidFill>
                <a:effectLst/>
                <a:uLnTx/>
                <a:uFillTx/>
                <a:latin typeface="Arial" panose="020B0604020202020204" pitchFamily="34" charset="0"/>
                <a:ea typeface="+mn-ea"/>
                <a:cs typeface="Arial" panose="020B0604020202020204" pitchFamily="34" charset="0"/>
              </a:rPr>
              <a:t>création automatique, sauf opposition </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de la personne ou de son représentant légal (principe d’« </a:t>
            </a:r>
            <a:r>
              <a:rPr kumimoji="0" lang="fr-FR" sz="1800" b="0" i="0" u="none" strike="noStrike" kern="1200" cap="none" spc="0" normalizeH="0" baseline="0" noProof="0" err="1">
                <a:ln>
                  <a:noFill/>
                </a:ln>
                <a:solidFill>
                  <a:srgbClr val="545859"/>
                </a:solidFill>
                <a:effectLst/>
                <a:uLnTx/>
                <a:uFillTx/>
                <a:latin typeface="Arial" panose="020B0604020202020204" pitchFamily="34" charset="0"/>
                <a:ea typeface="+mn-ea"/>
                <a:cs typeface="Arial" panose="020B0604020202020204" pitchFamily="34" charset="0"/>
              </a:rPr>
              <a:t>opt</a:t>
            </a:r>
            <a:r>
              <a:rPr kumimoji="0" lang="fr-FR" sz="1800" b="0" i="0" u="none" strike="noStrike" kern="1200" cap="none" spc="0" normalizeH="0" baseline="0" noProof="0">
                <a:ln>
                  <a:noFill/>
                </a:ln>
                <a:solidFill>
                  <a:srgbClr val="545859"/>
                </a:solidFill>
                <a:effectLst/>
                <a:uLnTx/>
                <a:uFillTx/>
                <a:latin typeface="Arial" panose="020B0604020202020204" pitchFamily="34" charset="0"/>
                <a:ea typeface="+mn-ea"/>
                <a:cs typeface="Arial" panose="020B0604020202020204" pitchFamily="34" charset="0"/>
              </a:rPr>
              <a:t>-out »)</a:t>
            </a:r>
            <a:endParaRPr kumimoji="0" lang="fr-FR" sz="2800" b="0" i="0" u="none" strike="noStrike" kern="1200" cap="none" spc="0" normalizeH="0" baseline="0" noProof="0">
              <a:ln>
                <a:noFill/>
              </a:ln>
              <a:solidFill>
                <a:srgbClr val="007FAD"/>
              </a:solidFill>
              <a:effectLst/>
              <a:uLnTx/>
              <a:uFillTx/>
              <a:latin typeface="Arial" panose="020B0604020202020204"/>
              <a:ea typeface="+mn-ea"/>
              <a:cs typeface="+mn-cs"/>
            </a:endParaRPr>
          </a:p>
        </p:txBody>
      </p:sp>
      <p:pic>
        <p:nvPicPr>
          <p:cNvPr id="10" name="Picture 6">
            <a:extLst>
              <a:ext uri="{FF2B5EF4-FFF2-40B4-BE49-F238E27FC236}">
                <a16:creationId xmlns:a16="http://schemas.microsoft.com/office/drawing/2014/main" id="{E2E49545-0888-4735-B66A-D25103F13919}"/>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8080" y="2442766"/>
            <a:ext cx="2180655" cy="1461722"/>
          </a:xfrm>
          <a:prstGeom prst="rect">
            <a:avLst/>
          </a:prstGeom>
          <a:noFill/>
          <a:ln>
            <a:noFill/>
          </a:ln>
        </p:spPr>
      </p:pic>
    </p:spTree>
    <p:extLst>
      <p:ext uri="{BB962C8B-B14F-4D97-AF65-F5344CB8AC3E}">
        <p14:creationId xmlns:p14="http://schemas.microsoft.com/office/powerpoint/2010/main" val="2145030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noAutofit/>
          </a:bodyPr>
          <a:lstStyle/>
          <a:p>
            <a:r>
              <a:rPr lang="fr-FR" sz="1800"/>
              <a:t>Quelles sont les fonctionnalités de Mon espace santé ? </a:t>
            </a:r>
            <a:endParaRPr lang="fr-FR" sz="1800">
              <a:solidFill>
                <a:srgbClr val="E73083"/>
              </a:solidFill>
            </a:endParaRPr>
          </a:p>
        </p:txBody>
      </p:sp>
      <p:sp>
        <p:nvSpPr>
          <p:cNvPr id="19" name="Rectangle 18">
            <a:extLst>
              <a:ext uri="{FF2B5EF4-FFF2-40B4-BE49-F238E27FC236}">
                <a16:creationId xmlns:a16="http://schemas.microsoft.com/office/drawing/2014/main" id="{D4872CAF-894D-4D9D-B35B-F52CFFD449BA}"/>
              </a:ext>
            </a:extLst>
          </p:cNvPr>
          <p:cNvSpPr/>
          <p:nvPr/>
        </p:nvSpPr>
        <p:spPr bwMode="auto">
          <a:xfrm>
            <a:off x="3951113" y="5190687"/>
            <a:ext cx="4194318" cy="877163"/>
          </a:xfrm>
          <a:prstGeom prst="rect">
            <a:avLst/>
          </a:prstGeom>
          <a:noFill/>
        </p:spPr>
        <p:txBody>
          <a:bodyPr wrap="square">
            <a:spAutoFit/>
          </a:bodyPr>
          <a:lstStyle/>
          <a:p>
            <a:pPr algn="ctr">
              <a:spcAft>
                <a:spcPts val="600"/>
              </a:spcAft>
              <a:defRPr/>
            </a:pPr>
            <a:r>
              <a:rPr lang="fr-FR" b="1" kern="0">
                <a:solidFill>
                  <a:srgbClr val="007FAD"/>
                </a:solidFill>
                <a:latin typeface="Calibri" panose="020F0502020204030204" pitchFamily="34" charset="0"/>
                <a:cs typeface="Calibri" panose="020F0502020204030204" pitchFamily="34" charset="0"/>
              </a:rPr>
              <a:t>Un agenda</a:t>
            </a:r>
          </a:p>
          <a:p>
            <a:pPr algn="ctr">
              <a:defRPr/>
            </a:pPr>
            <a:r>
              <a:rPr lang="fr-FR" sz="1400" kern="0">
                <a:solidFill>
                  <a:srgbClr val="545859"/>
                </a:solidFill>
                <a:latin typeface="Calibri" panose="020F0502020204030204" pitchFamily="34" charset="0"/>
                <a:cs typeface="Calibri" panose="020F0502020204030204" pitchFamily="34" charset="0"/>
              </a:rPr>
              <a:t>Agrégations des </a:t>
            </a:r>
            <a:r>
              <a:rPr lang="fr-FR" sz="1400" b="1" kern="0">
                <a:solidFill>
                  <a:srgbClr val="007FAD"/>
                </a:solidFill>
                <a:latin typeface="Calibri" panose="020F0502020204030204" pitchFamily="34" charset="0"/>
                <a:cs typeface="Calibri" panose="020F0502020204030204" pitchFamily="34" charset="0"/>
              </a:rPr>
              <a:t>évènements</a:t>
            </a:r>
            <a:r>
              <a:rPr lang="fr-FR" sz="1400" kern="0">
                <a:solidFill>
                  <a:srgbClr val="545859"/>
                </a:solidFill>
                <a:latin typeface="Calibri" panose="020F0502020204030204" pitchFamily="34" charset="0"/>
                <a:cs typeface="Calibri" panose="020F0502020204030204" pitchFamily="34" charset="0"/>
              </a:rPr>
              <a:t> liés au parcours de soin de l’usager via un agenda. </a:t>
            </a:r>
            <a:endParaRPr lang="fr-FR" sz="1400">
              <a:solidFill>
                <a:srgbClr val="545859"/>
              </a:solidFill>
              <a:latin typeface="Calibri" panose="020F0502020204030204" pitchFamily="34" charset="0"/>
              <a:cs typeface="Calibri" panose="020F0502020204030204" pitchFamily="34" charset="0"/>
            </a:endParaRPr>
          </a:p>
        </p:txBody>
      </p:sp>
      <p:sp>
        <p:nvSpPr>
          <p:cNvPr id="20" name="Rectangle 19">
            <a:extLst>
              <a:ext uri="{FF2B5EF4-FFF2-40B4-BE49-F238E27FC236}">
                <a16:creationId xmlns:a16="http://schemas.microsoft.com/office/drawing/2014/main" id="{5A975DAA-5642-4BEE-B609-7FFBA08DB858}"/>
              </a:ext>
            </a:extLst>
          </p:cNvPr>
          <p:cNvSpPr/>
          <p:nvPr/>
        </p:nvSpPr>
        <p:spPr>
          <a:xfrm>
            <a:off x="712474" y="1467912"/>
            <a:ext cx="10028921" cy="400110"/>
          </a:xfrm>
          <a:prstGeom prst="rect">
            <a:avLst/>
          </a:prstGeom>
          <a:noFill/>
        </p:spPr>
        <p:txBody>
          <a:bodyPr wrap="square">
            <a:spAutoFit/>
          </a:bodyPr>
          <a:lstStyle/>
          <a:p>
            <a:pPr marL="0" lvl="1" defTabSz="457189">
              <a:spcBef>
                <a:spcPts val="600"/>
              </a:spcBef>
              <a:buClr>
                <a:srgbClr val="99CC00"/>
              </a:buClr>
              <a:buSzPct val="100000"/>
              <a:defRPr/>
            </a:pPr>
            <a:r>
              <a:rPr lang="fr-FR" sz="2000" b="1">
                <a:solidFill>
                  <a:schemeClr val="tx2"/>
                </a:solidFill>
                <a:latin typeface="Calibri" panose="020F0502020204030204" pitchFamily="34" charset="0"/>
                <a:cs typeface="Calibri" panose="020F0502020204030204" pitchFamily="34" charset="0"/>
                <a:sym typeface="Arial"/>
              </a:rPr>
              <a:t>Grâce à Mon espace santé, l’usager aura accès à 4 fonctionnalités majeures :</a:t>
            </a:r>
          </a:p>
        </p:txBody>
      </p:sp>
      <p:grpSp>
        <p:nvGrpSpPr>
          <p:cNvPr id="21" name="Group 1">
            <a:extLst>
              <a:ext uri="{FF2B5EF4-FFF2-40B4-BE49-F238E27FC236}">
                <a16:creationId xmlns:a16="http://schemas.microsoft.com/office/drawing/2014/main" id="{0BCA2924-737D-4CD5-860E-F05CAB87243D}"/>
              </a:ext>
            </a:extLst>
          </p:cNvPr>
          <p:cNvGrpSpPr/>
          <p:nvPr/>
        </p:nvGrpSpPr>
        <p:grpSpPr>
          <a:xfrm>
            <a:off x="3532469" y="1724059"/>
            <a:ext cx="5031606" cy="3731964"/>
            <a:chOff x="3580841" y="2285331"/>
            <a:chExt cx="5031606" cy="3731964"/>
          </a:xfrm>
        </p:grpSpPr>
        <p:graphicFrame>
          <p:nvGraphicFramePr>
            <p:cNvPr id="22" name="Graphique 21">
              <a:extLst>
                <a:ext uri="{FF2B5EF4-FFF2-40B4-BE49-F238E27FC236}">
                  <a16:creationId xmlns:a16="http://schemas.microsoft.com/office/drawing/2014/main" id="{D6765AF6-A6B5-4514-ABF8-669CB803C320}"/>
                </a:ext>
              </a:extLst>
            </p:cNvPr>
            <p:cNvGraphicFramePr/>
            <p:nvPr/>
          </p:nvGraphicFramePr>
          <p:xfrm>
            <a:off x="3580841" y="2285331"/>
            <a:ext cx="5031606" cy="3731964"/>
          </p:xfrm>
          <a:graphic>
            <a:graphicData uri="http://schemas.openxmlformats.org/drawingml/2006/chart">
              <c:chart xmlns:c="http://schemas.openxmlformats.org/drawingml/2006/chart" xmlns:r="http://schemas.openxmlformats.org/officeDocument/2006/relationships" r:id="rId4"/>
            </a:graphicData>
          </a:graphic>
        </p:graphicFrame>
        <p:pic>
          <p:nvPicPr>
            <p:cNvPr id="23" name="Image 26">
              <a:extLst>
                <a:ext uri="{FF2B5EF4-FFF2-40B4-BE49-F238E27FC236}">
                  <a16:creationId xmlns:a16="http://schemas.microsoft.com/office/drawing/2014/main" id="{DF36B7C7-8DAA-4AAE-B28F-0E3303D10387}"/>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161269" y="2968031"/>
              <a:ext cx="648000" cy="648000"/>
            </a:xfrm>
            <a:prstGeom prst="rect">
              <a:avLst/>
            </a:prstGeom>
          </p:spPr>
        </p:pic>
        <p:pic>
          <p:nvPicPr>
            <p:cNvPr id="24" name="Image 39">
              <a:extLst>
                <a:ext uri="{FF2B5EF4-FFF2-40B4-BE49-F238E27FC236}">
                  <a16:creationId xmlns:a16="http://schemas.microsoft.com/office/drawing/2014/main" id="{F68843CA-CECD-4EF8-8C47-D3CDD4D528D7}"/>
                </a:ext>
              </a:extLst>
            </p:cNvPr>
            <p:cNvPicPr>
              <a:picLocks noChangeAspect="1"/>
            </p:cNvPicPr>
            <p:nvPr/>
          </p:nvPicPr>
          <p:blipFill>
            <a:blip r:embed="rId7" cstate="screen">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392652" y="2968031"/>
              <a:ext cx="648000" cy="648000"/>
            </a:xfrm>
            <a:prstGeom prst="rect">
              <a:avLst/>
            </a:prstGeom>
          </p:spPr>
        </p:pic>
        <p:grpSp>
          <p:nvGrpSpPr>
            <p:cNvPr id="25" name="Groupe 40">
              <a:extLst>
                <a:ext uri="{FF2B5EF4-FFF2-40B4-BE49-F238E27FC236}">
                  <a16:creationId xmlns:a16="http://schemas.microsoft.com/office/drawing/2014/main" id="{4B562EA1-4FF1-4EDE-BFCC-ED4B76FDF09F}"/>
                </a:ext>
              </a:extLst>
            </p:cNvPr>
            <p:cNvGrpSpPr/>
            <p:nvPr/>
          </p:nvGrpSpPr>
          <p:grpSpPr>
            <a:xfrm>
              <a:off x="5868113" y="3904063"/>
              <a:ext cx="432000" cy="432048"/>
              <a:chOff x="3421373" y="751325"/>
              <a:chExt cx="5400000" cy="5400000"/>
            </a:xfrm>
          </p:grpSpPr>
          <p:pic>
            <p:nvPicPr>
              <p:cNvPr id="29" name="Image 50">
                <a:extLst>
                  <a:ext uri="{FF2B5EF4-FFF2-40B4-BE49-F238E27FC236}">
                    <a16:creationId xmlns:a16="http://schemas.microsoft.com/office/drawing/2014/main" id="{B33BCE95-7C01-4B07-B08B-CDFEAAD1850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446748" y="773652"/>
                <a:ext cx="5349251" cy="5355347"/>
              </a:xfrm>
              <a:prstGeom prst="rect">
                <a:avLst/>
              </a:prstGeom>
            </p:spPr>
          </p:pic>
          <p:sp>
            <p:nvSpPr>
              <p:cNvPr id="30" name="Rectangle à coins arrondis 51">
                <a:extLst>
                  <a:ext uri="{FF2B5EF4-FFF2-40B4-BE49-F238E27FC236}">
                    <a16:creationId xmlns:a16="http://schemas.microsoft.com/office/drawing/2014/main" id="{38F0124F-08CE-4DDE-94E0-EBF25CB73FCD}"/>
                  </a:ext>
                </a:extLst>
              </p:cNvPr>
              <p:cNvSpPr/>
              <p:nvPr/>
            </p:nvSpPr>
            <p:spPr>
              <a:xfrm>
                <a:off x="3421373" y="751325"/>
                <a:ext cx="5400000" cy="5400000"/>
              </a:xfrm>
              <a:prstGeom prst="roundRect">
                <a:avLst/>
              </a:prstGeom>
              <a:noFill/>
              <a:ln w="28575" cap="flat" cmpd="sng" algn="ctr">
                <a:solidFill>
                  <a:sysClr val="window" lastClr="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prstClr val="white"/>
                  </a:solidFill>
                  <a:effectLst/>
                  <a:uLnTx/>
                  <a:uFillTx/>
                  <a:ea typeface="+mn-ea"/>
                  <a:cs typeface="+mn-cs"/>
                </a:endParaRPr>
              </a:p>
            </p:txBody>
          </p:sp>
        </p:grpSp>
        <p:pic>
          <p:nvPicPr>
            <p:cNvPr id="26" name="Image 41">
              <a:extLst>
                <a:ext uri="{FF2B5EF4-FFF2-40B4-BE49-F238E27FC236}">
                  <a16:creationId xmlns:a16="http://schemas.microsoft.com/office/drawing/2014/main" id="{F392FC71-6258-458F-8465-E43478612678}"/>
                </a:ext>
              </a:extLst>
            </p:cNvPr>
            <p:cNvPicPr>
              <a:picLocks noChangeAspect="1"/>
            </p:cNvPicPr>
            <p:nvPr/>
          </p:nvPicPr>
          <p:blipFill>
            <a:blip r:embed="rId10" cstate="screen">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5775307" y="4842526"/>
              <a:ext cx="648000" cy="648000"/>
            </a:xfrm>
            <a:prstGeom prst="rect">
              <a:avLst/>
            </a:prstGeom>
          </p:spPr>
        </p:pic>
        <p:pic>
          <p:nvPicPr>
            <p:cNvPr id="27" name="Image 42">
              <a:extLst>
                <a:ext uri="{FF2B5EF4-FFF2-40B4-BE49-F238E27FC236}">
                  <a16:creationId xmlns:a16="http://schemas.microsoft.com/office/drawing/2014/main" id="{8FAC6DB3-B049-4FD2-B506-942AC1320B90}"/>
                </a:ext>
              </a:extLst>
            </p:cNvPr>
            <p:cNvPicPr>
              <a:picLocks noChangeAspect="1"/>
            </p:cNvPicPr>
            <p:nvPr/>
          </p:nvPicPr>
          <p:blipFill>
            <a:blip r:embed="rId12" cstate="screen">
              <a:extLst>
                <a:ext uri="{BEBA8EAE-BF5A-486C-A8C5-ECC9F3942E4B}">
                  <a14:imgProps xmlns:a14="http://schemas.microsoft.com/office/drawing/2010/main">
                    <a14:imgLayer r:embed="rId1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889092" y="4145639"/>
              <a:ext cx="612000" cy="612000"/>
            </a:xfrm>
            <a:prstGeom prst="rect">
              <a:avLst/>
            </a:prstGeom>
          </p:spPr>
        </p:pic>
        <p:pic>
          <p:nvPicPr>
            <p:cNvPr id="28" name="Image 43">
              <a:extLst>
                <a:ext uri="{FF2B5EF4-FFF2-40B4-BE49-F238E27FC236}">
                  <a16:creationId xmlns:a16="http://schemas.microsoft.com/office/drawing/2014/main" id="{DD135026-91C2-40AE-8441-4896DC47ADB4}"/>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728852" y="4145639"/>
              <a:ext cx="648000" cy="648000"/>
            </a:xfrm>
            <a:prstGeom prst="rect">
              <a:avLst/>
            </a:prstGeom>
          </p:spPr>
        </p:pic>
      </p:grpSp>
      <p:sp>
        <p:nvSpPr>
          <p:cNvPr id="31" name="Rectangle 30">
            <a:extLst>
              <a:ext uri="{FF2B5EF4-FFF2-40B4-BE49-F238E27FC236}">
                <a16:creationId xmlns:a16="http://schemas.microsoft.com/office/drawing/2014/main" id="{F42BCCE7-25F0-4FB5-AE78-2E794BA1A82E}"/>
              </a:ext>
            </a:extLst>
          </p:cNvPr>
          <p:cNvSpPr/>
          <p:nvPr/>
        </p:nvSpPr>
        <p:spPr bwMode="auto">
          <a:xfrm>
            <a:off x="7814394" y="2000913"/>
            <a:ext cx="3636404" cy="1308050"/>
          </a:xfrm>
          <a:prstGeom prst="rect">
            <a:avLst/>
          </a:prstGeom>
        </p:spPr>
        <p:txBody>
          <a:bodyPr wrap="square">
            <a:spAutoFit/>
          </a:bodyPr>
          <a:lstStyle/>
          <a:p>
            <a:pPr>
              <a:spcAft>
                <a:spcPts val="600"/>
              </a:spcAft>
              <a:defRPr/>
            </a:pPr>
            <a:r>
              <a:rPr lang="fr-FR" b="1" kern="0">
                <a:solidFill>
                  <a:srgbClr val="298478"/>
                </a:solidFill>
                <a:latin typeface="Calibri" panose="020F0502020204030204" pitchFamily="34" charset="0"/>
                <a:cs typeface="Calibri" panose="020F0502020204030204" pitchFamily="34" charset="0"/>
              </a:rPr>
              <a:t>Une messagerie</a:t>
            </a:r>
          </a:p>
          <a:p>
            <a:pPr>
              <a:defRPr/>
            </a:pPr>
            <a:r>
              <a:rPr lang="fr-FR" sz="1400" kern="0">
                <a:solidFill>
                  <a:srgbClr val="545859"/>
                </a:solidFill>
                <a:latin typeface="Calibri" panose="020F0502020204030204" pitchFamily="34" charset="0"/>
                <a:cs typeface="Calibri" panose="020F0502020204030204" pitchFamily="34" charset="0"/>
              </a:rPr>
              <a:t>Réception en toute sécurité des informations personnelles en provenance de l’équipe de soin de l’usager via un service de </a:t>
            </a:r>
            <a:r>
              <a:rPr lang="fr-FR" sz="1400" b="1" kern="0">
                <a:solidFill>
                  <a:srgbClr val="298478"/>
                </a:solidFill>
                <a:latin typeface="Calibri" panose="020F0502020204030204" pitchFamily="34" charset="0"/>
                <a:cs typeface="Calibri" panose="020F0502020204030204" pitchFamily="34" charset="0"/>
              </a:rPr>
              <a:t>messagerie sécurisée </a:t>
            </a:r>
            <a:r>
              <a:rPr lang="fr-FR" sz="1400" kern="0">
                <a:solidFill>
                  <a:srgbClr val="545859"/>
                </a:solidFill>
                <a:latin typeface="Calibri" panose="020F0502020204030204" pitchFamily="34" charset="0"/>
                <a:cs typeface="Calibri" panose="020F0502020204030204" pitchFamily="34" charset="0"/>
              </a:rPr>
              <a:t>de santé.</a:t>
            </a:r>
            <a:endParaRPr lang="fr-FR" sz="1400">
              <a:solidFill>
                <a:srgbClr val="545859"/>
              </a:solidFill>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6A3F42CC-EFE6-4781-843E-46D059429357}"/>
              </a:ext>
            </a:extLst>
          </p:cNvPr>
          <p:cNvSpPr/>
          <p:nvPr/>
        </p:nvSpPr>
        <p:spPr bwMode="auto">
          <a:xfrm>
            <a:off x="7785232" y="3656561"/>
            <a:ext cx="3564396" cy="1523494"/>
          </a:xfrm>
          <a:prstGeom prst="rect">
            <a:avLst/>
          </a:prstGeom>
        </p:spPr>
        <p:txBody>
          <a:bodyPr wrap="square">
            <a:spAutoFit/>
          </a:bodyPr>
          <a:lstStyle/>
          <a:p>
            <a:pPr>
              <a:spcAft>
                <a:spcPts val="600"/>
              </a:spcAft>
              <a:defRPr/>
            </a:pPr>
            <a:r>
              <a:rPr lang="fr-FR" b="1" kern="0">
                <a:solidFill>
                  <a:srgbClr val="5E74B8"/>
                </a:solidFill>
                <a:latin typeface="Calibri" panose="020F0502020204030204" pitchFamily="34" charset="0"/>
                <a:cs typeface="Calibri" panose="020F0502020204030204" pitchFamily="34" charset="0"/>
              </a:rPr>
              <a:t>Un catalogue de service</a:t>
            </a:r>
          </a:p>
          <a:p>
            <a:pPr>
              <a:defRPr/>
            </a:pPr>
            <a:r>
              <a:rPr lang="fr-FR" sz="1400" kern="0">
                <a:solidFill>
                  <a:srgbClr val="545859"/>
                </a:solidFill>
                <a:latin typeface="Calibri" panose="020F0502020204030204" pitchFamily="34" charset="0"/>
                <a:cs typeface="Calibri" panose="020F0502020204030204" pitchFamily="34" charset="0"/>
              </a:rPr>
              <a:t>Accès à des applications de santé référencées par l’État via un</a:t>
            </a:r>
            <a:r>
              <a:rPr lang="fr-FR" sz="1400" b="1" kern="0">
                <a:solidFill>
                  <a:srgbClr val="5E74B8"/>
                </a:solidFill>
                <a:latin typeface="Calibri" panose="020F0502020204030204" pitchFamily="34" charset="0"/>
                <a:cs typeface="Calibri" panose="020F0502020204030204" pitchFamily="34" charset="0"/>
              </a:rPr>
              <a:t> catalogue réunissant la diversité des services utiles à la santé </a:t>
            </a:r>
            <a:r>
              <a:rPr lang="fr-FR" sz="1400" kern="0">
                <a:solidFill>
                  <a:srgbClr val="545859"/>
                </a:solidFill>
                <a:latin typeface="Calibri" panose="020F0502020204030204" pitchFamily="34" charset="0"/>
                <a:cs typeface="Calibri" panose="020F0502020204030204" pitchFamily="34" charset="0"/>
              </a:rPr>
              <a:t>(ex. portails patients, applications et objets connectés référencés..).</a:t>
            </a:r>
          </a:p>
        </p:txBody>
      </p:sp>
      <p:grpSp>
        <p:nvGrpSpPr>
          <p:cNvPr id="45" name="Group 50">
            <a:extLst>
              <a:ext uri="{FF2B5EF4-FFF2-40B4-BE49-F238E27FC236}">
                <a16:creationId xmlns:a16="http://schemas.microsoft.com/office/drawing/2014/main" id="{1540C1C7-96EB-4D72-861E-1649F236E10C}"/>
              </a:ext>
            </a:extLst>
          </p:cNvPr>
          <p:cNvGrpSpPr/>
          <p:nvPr/>
        </p:nvGrpSpPr>
        <p:grpSpPr>
          <a:xfrm>
            <a:off x="395833" y="2457559"/>
            <a:ext cx="3806146" cy="2722496"/>
            <a:chOff x="655398" y="2238997"/>
            <a:chExt cx="3806146" cy="2722496"/>
          </a:xfrm>
        </p:grpSpPr>
        <p:sp>
          <p:nvSpPr>
            <p:cNvPr id="46" name="Rectangle 45">
              <a:extLst>
                <a:ext uri="{FF2B5EF4-FFF2-40B4-BE49-F238E27FC236}">
                  <a16:creationId xmlns:a16="http://schemas.microsoft.com/office/drawing/2014/main" id="{BEF580BB-8AC9-45AA-AE45-4C0BDAF3AEA8}"/>
                </a:ext>
              </a:extLst>
            </p:cNvPr>
            <p:cNvSpPr/>
            <p:nvPr/>
          </p:nvSpPr>
          <p:spPr bwMode="auto">
            <a:xfrm>
              <a:off x="655398" y="2238997"/>
              <a:ext cx="3806146" cy="1308050"/>
            </a:xfrm>
            <a:prstGeom prst="rect">
              <a:avLst/>
            </a:prstGeom>
          </p:spPr>
          <p:txBody>
            <a:bodyPr wrap="square">
              <a:spAutoFit/>
            </a:bodyPr>
            <a:lstStyle/>
            <a:p>
              <a:pPr>
                <a:spcAft>
                  <a:spcPts val="600"/>
                </a:spcAft>
                <a:defRPr/>
              </a:pPr>
              <a:r>
                <a:rPr lang="fr-FR" b="1" kern="0">
                  <a:solidFill>
                    <a:srgbClr val="C74E5A"/>
                  </a:solidFill>
                  <a:latin typeface="Calibri" panose="020F0502020204030204" pitchFamily="34" charset="0"/>
                  <a:cs typeface="Calibri" panose="020F0502020204030204" pitchFamily="34" charset="0"/>
                </a:rPr>
                <a:t>Un dossier médical</a:t>
              </a:r>
            </a:p>
            <a:p>
              <a:pPr>
                <a:defRPr/>
              </a:pPr>
              <a:r>
                <a:rPr lang="fr-FR" sz="1400" kern="0">
                  <a:solidFill>
                    <a:srgbClr val="545859"/>
                  </a:solidFill>
                  <a:latin typeface="Calibri" panose="020F0502020204030204" pitchFamily="34" charset="0"/>
                  <a:cs typeface="Calibri" panose="020F0502020204030204" pitchFamily="34" charset="0"/>
                </a:rPr>
                <a:t>Consultation et alimentation des </a:t>
              </a:r>
              <a:r>
                <a:rPr lang="fr-FR" sz="1400" b="1" kern="0">
                  <a:solidFill>
                    <a:srgbClr val="C74E5A"/>
                  </a:solidFill>
                  <a:latin typeface="Calibri" panose="020F0502020204030204" pitchFamily="34" charset="0"/>
                  <a:cs typeface="Calibri" panose="020F0502020204030204" pitchFamily="34" charset="0"/>
                </a:rPr>
                <a:t>documents</a:t>
              </a:r>
              <a:r>
                <a:rPr lang="fr-FR" sz="1400" kern="0">
                  <a:solidFill>
                    <a:srgbClr val="C74E5A"/>
                  </a:solidFill>
                  <a:latin typeface="Calibri" panose="020F0502020204030204" pitchFamily="34" charset="0"/>
                  <a:cs typeface="Calibri" panose="020F0502020204030204" pitchFamily="34" charset="0"/>
                </a:rPr>
                <a:t> </a:t>
              </a:r>
              <a:r>
                <a:rPr lang="fr-FR" sz="1400" kern="0">
                  <a:solidFill>
                    <a:srgbClr val="545859"/>
                  </a:solidFill>
                  <a:latin typeface="Calibri" panose="020F0502020204030204" pitchFamily="34" charset="0"/>
                  <a:cs typeface="Calibri" panose="020F0502020204030204" pitchFamily="34" charset="0"/>
                </a:rPr>
                <a:t>ajoutés par l’usager ou ses professionnels de santé (ordonnance, compte rendu d’hospitalisation, biologies…)</a:t>
              </a:r>
            </a:p>
          </p:txBody>
        </p:sp>
        <p:sp>
          <p:nvSpPr>
            <p:cNvPr id="47" name="Rectangle 46">
              <a:extLst>
                <a:ext uri="{FF2B5EF4-FFF2-40B4-BE49-F238E27FC236}">
                  <a16:creationId xmlns:a16="http://schemas.microsoft.com/office/drawing/2014/main" id="{FB6C0CBF-C172-4CE8-BCA1-1C89BBFBF840}"/>
                </a:ext>
              </a:extLst>
            </p:cNvPr>
            <p:cNvSpPr/>
            <p:nvPr/>
          </p:nvSpPr>
          <p:spPr bwMode="auto">
            <a:xfrm>
              <a:off x="655398" y="3484828"/>
              <a:ext cx="3440113" cy="738664"/>
            </a:xfrm>
            <a:prstGeom prst="rect">
              <a:avLst/>
            </a:prstGeom>
          </p:spPr>
          <p:txBody>
            <a:bodyPr>
              <a:spAutoFit/>
            </a:bodyPr>
            <a:lstStyle/>
            <a:p>
              <a:pPr>
                <a:defRPr/>
              </a:pPr>
              <a:r>
                <a:rPr lang="fr-FR" sz="1400" kern="0">
                  <a:solidFill>
                    <a:srgbClr val="545859"/>
                  </a:solidFill>
                  <a:latin typeface="Calibri" panose="020F0502020204030204" pitchFamily="34" charset="0"/>
                  <a:cs typeface="Calibri" panose="020F0502020204030204" pitchFamily="34" charset="0"/>
                </a:rPr>
                <a:t>Alimentation et consultation par l’usager de son </a:t>
              </a:r>
              <a:r>
                <a:rPr lang="fr-FR" sz="1400" b="1" kern="0">
                  <a:solidFill>
                    <a:srgbClr val="C74E5A"/>
                  </a:solidFill>
                  <a:latin typeface="Calibri" panose="020F0502020204030204" pitchFamily="34" charset="0"/>
                  <a:cs typeface="Calibri" panose="020F0502020204030204" pitchFamily="34" charset="0"/>
                </a:rPr>
                <a:t>profil médical </a:t>
              </a:r>
              <a:r>
                <a:rPr lang="fr-FR" sz="1400" kern="0">
                  <a:solidFill>
                    <a:srgbClr val="545859"/>
                  </a:solidFill>
                  <a:latin typeface="Calibri" panose="020F0502020204030204" pitchFamily="34" charset="0"/>
                  <a:cs typeface="Calibri" panose="020F0502020204030204" pitchFamily="34" charset="0"/>
                </a:rPr>
                <a:t>: antécédents médicaux, vaccinations, allergies, mesures de santé, …</a:t>
              </a:r>
              <a:endParaRPr lang="fr-FR" sz="1400">
                <a:solidFill>
                  <a:srgbClr val="545859"/>
                </a:solidFill>
                <a:latin typeface="Calibri" panose="020F0502020204030204" pitchFamily="34" charset="0"/>
                <a:cs typeface="Calibri" panose="020F0502020204030204" pitchFamily="34" charset="0"/>
              </a:endParaRPr>
            </a:p>
          </p:txBody>
        </p:sp>
        <p:sp>
          <p:nvSpPr>
            <p:cNvPr id="48" name="Rectangle 47">
              <a:extLst>
                <a:ext uri="{FF2B5EF4-FFF2-40B4-BE49-F238E27FC236}">
                  <a16:creationId xmlns:a16="http://schemas.microsoft.com/office/drawing/2014/main" id="{23CB7A16-6930-4C13-93D5-8452059CE00A}"/>
                </a:ext>
              </a:extLst>
            </p:cNvPr>
            <p:cNvSpPr/>
            <p:nvPr/>
          </p:nvSpPr>
          <p:spPr>
            <a:xfrm>
              <a:off x="671466" y="4222829"/>
              <a:ext cx="3429836" cy="738664"/>
            </a:xfrm>
            <a:prstGeom prst="rect">
              <a:avLst/>
            </a:prstGeom>
          </p:spPr>
          <p:txBody>
            <a:bodyPr wrap="square">
              <a:spAutoFit/>
            </a:bodyPr>
            <a:lstStyle/>
            <a:p>
              <a:r>
                <a:rPr lang="fr-FR" sz="1400" kern="0">
                  <a:solidFill>
                    <a:srgbClr val="545859"/>
                  </a:solidFill>
                  <a:latin typeface="Calibri" panose="020F0502020204030204" pitchFamily="34" charset="0"/>
                  <a:cs typeface="Calibri" panose="020F0502020204030204" pitchFamily="34" charset="0"/>
                </a:rPr>
                <a:t>Cette brique s’appuie sur l’actuel</a:t>
              </a:r>
              <a:r>
                <a:rPr lang="fr-FR" sz="1400" b="1" kern="0">
                  <a:solidFill>
                    <a:srgbClr val="545859"/>
                  </a:solidFill>
                  <a:latin typeface="Calibri" panose="020F0502020204030204" pitchFamily="34" charset="0"/>
                  <a:cs typeface="Calibri" panose="020F0502020204030204" pitchFamily="34" charset="0"/>
                </a:rPr>
                <a:t> </a:t>
              </a:r>
              <a:r>
                <a:rPr lang="fr-FR" sz="1400" b="1" kern="0">
                  <a:solidFill>
                    <a:srgbClr val="C74E5A"/>
                  </a:solidFill>
                  <a:latin typeface="Calibri" panose="020F0502020204030204" pitchFamily="34" charset="0"/>
                  <a:cs typeface="Calibri" panose="020F0502020204030204" pitchFamily="34" charset="0"/>
                </a:rPr>
                <a:t>Dossier Médical Partagé (DMP) </a:t>
              </a:r>
              <a:r>
                <a:rPr lang="fr-FR" sz="1400" kern="0">
                  <a:solidFill>
                    <a:srgbClr val="545859"/>
                  </a:solidFill>
                  <a:latin typeface="Calibri" panose="020F0502020204030204" pitchFamily="34" charset="0"/>
                  <a:cs typeface="Calibri" panose="020F0502020204030204" pitchFamily="34" charset="0"/>
                </a:rPr>
                <a:t>dont l’historique est repris pour les anciens utilisateurs.</a:t>
              </a:r>
            </a:p>
          </p:txBody>
        </p:sp>
      </p:grpSp>
      <p:sp>
        <p:nvSpPr>
          <p:cNvPr id="49" name="Rectangle 48">
            <a:extLst>
              <a:ext uri="{FF2B5EF4-FFF2-40B4-BE49-F238E27FC236}">
                <a16:creationId xmlns:a16="http://schemas.microsoft.com/office/drawing/2014/main" id="{F0EB70C0-2FDB-4A05-A581-A77A1910AF58}"/>
              </a:ext>
            </a:extLst>
          </p:cNvPr>
          <p:cNvSpPr/>
          <p:nvPr>
            <p:custDataLst>
              <p:tags r:id="rId1"/>
            </p:custDataLst>
          </p:nvPr>
        </p:nvSpPr>
        <p:spPr>
          <a:xfrm rot="20386866">
            <a:off x="6657071" y="5064224"/>
            <a:ext cx="845103" cy="338554"/>
          </a:xfrm>
          <a:prstGeom prst="rect">
            <a:avLst/>
          </a:prstGeom>
          <a:noFill/>
        </p:spPr>
        <p:txBody>
          <a:bodyPr wrap="non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fr-FR" sz="1600" b="1" cap="none" spc="0">
                <a:ln w="11430"/>
                <a:solidFill>
                  <a:schemeClr val="accent2">
                    <a:lumMod val="60000"/>
                    <a:lumOff val="40000"/>
                  </a:schemeClr>
                </a:solidFill>
                <a:effectLst>
                  <a:outerShdw blurRad="50800" dist="39000" dir="5460000" algn="tl">
                    <a:srgbClr val="000000">
                      <a:alpha val="38000"/>
                    </a:srgbClr>
                  </a:outerShdw>
                </a:effectLst>
                <a:latin typeface="Calibri" panose="020F0502020204030204" pitchFamily="34" charset="0"/>
                <a:cs typeface="Calibri" panose="020F0502020204030204" pitchFamily="34" charset="0"/>
              </a:rPr>
              <a:t>Demain</a:t>
            </a:r>
          </a:p>
        </p:txBody>
      </p:sp>
      <p:sp>
        <p:nvSpPr>
          <p:cNvPr id="3" name="ZoneTexte 2">
            <a:extLst>
              <a:ext uri="{FF2B5EF4-FFF2-40B4-BE49-F238E27FC236}">
                <a16:creationId xmlns:a16="http://schemas.microsoft.com/office/drawing/2014/main" id="{18F3B6B0-B477-B958-6C57-58FF50EBF006}"/>
              </a:ext>
            </a:extLst>
          </p:cNvPr>
          <p:cNvSpPr txBox="1"/>
          <p:nvPr/>
        </p:nvSpPr>
        <p:spPr>
          <a:xfrm>
            <a:off x="9850120" y="1635760"/>
            <a:ext cx="2270760" cy="369332"/>
          </a:xfrm>
          <a:prstGeom prst="rect">
            <a:avLst/>
          </a:prstGeom>
          <a:noFill/>
          <a:ln>
            <a:solidFill>
              <a:srgbClr val="D6125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a:solidFill>
                  <a:srgbClr val="B71251"/>
                </a:solidFill>
                <a:cs typeface="Arial"/>
              </a:rPr>
              <a:t>Démo MES</a:t>
            </a:r>
          </a:p>
        </p:txBody>
      </p:sp>
    </p:spTree>
    <p:extLst>
      <p:ext uri="{BB962C8B-B14F-4D97-AF65-F5344CB8AC3E}">
        <p14:creationId xmlns:p14="http://schemas.microsoft.com/office/powerpoint/2010/main" val="20096704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3944586" y="569100"/>
            <a:ext cx="7582396" cy="576209"/>
          </a:xfrm>
        </p:spPr>
        <p:txBody>
          <a:bodyPr>
            <a:noAutofit/>
          </a:bodyPr>
          <a:lstStyle/>
          <a:p>
            <a:r>
              <a:rPr lang="fr-FR" sz="1800"/>
              <a:t> De l’information des usagers à la création de 65,9 millions de profils Mon espace santé</a:t>
            </a:r>
          </a:p>
        </p:txBody>
      </p:sp>
      <p:grpSp>
        <p:nvGrpSpPr>
          <p:cNvPr id="4" name="Group 4">
            <a:extLst>
              <a:ext uri="{FF2B5EF4-FFF2-40B4-BE49-F238E27FC236}">
                <a16:creationId xmlns:a16="http://schemas.microsoft.com/office/drawing/2014/main" id="{93D1E2D7-1329-4122-A9F6-DCC09D37ED90}"/>
              </a:ext>
            </a:extLst>
          </p:cNvPr>
          <p:cNvGrpSpPr/>
          <p:nvPr/>
        </p:nvGrpSpPr>
        <p:grpSpPr>
          <a:xfrm>
            <a:off x="621873" y="1521008"/>
            <a:ext cx="9666044" cy="901700"/>
            <a:chOff x="1115470" y="2264735"/>
            <a:chExt cx="9666044" cy="901700"/>
          </a:xfrm>
        </p:grpSpPr>
        <p:sp>
          <p:nvSpPr>
            <p:cNvPr id="5" name="ZoneTexte 13">
              <a:extLst>
                <a:ext uri="{FF2B5EF4-FFF2-40B4-BE49-F238E27FC236}">
                  <a16:creationId xmlns:a16="http://schemas.microsoft.com/office/drawing/2014/main" id="{18180E08-F0B1-404E-AEA7-BAC211201E0F}"/>
                </a:ext>
              </a:extLst>
            </p:cNvPr>
            <p:cNvSpPr txBox="1"/>
            <p:nvPr/>
          </p:nvSpPr>
          <p:spPr>
            <a:xfrm>
              <a:off x="2302842" y="2264735"/>
              <a:ext cx="8478672" cy="615553"/>
            </a:xfrm>
            <a:prstGeom prst="rect">
              <a:avLst/>
            </a:prstGeom>
            <a:noFill/>
          </p:spPr>
          <p:txBody>
            <a:bodyPr wrap="square" lIns="91440" tIns="45720" rIns="91440" bIns="45720" rtlCol="0" anchor="t">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eaLnBrk="1" fontAlgn="auto" hangingPunct="1">
                <a:spcBef>
                  <a:spcPts val="0"/>
                </a:spcBef>
                <a:spcAft>
                  <a:spcPts val="0"/>
                </a:spcAft>
                <a:defRPr/>
              </a:pP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69 millions </a:t>
              </a:r>
              <a:r>
                <a:rPr kumimoji="0" lang="fr-FR" sz="1400" b="1" i="0" u="none" strike="noStrike" kern="1200" cap="none" spc="0" normalizeH="0" baseline="0" noProof="0">
                  <a:ln>
                    <a:noFill/>
                  </a:ln>
                  <a:solidFill>
                    <a:srgbClr val="374C62"/>
                  </a:solidFill>
                  <a:effectLst/>
                  <a:uLnTx/>
                  <a:uFillTx/>
                  <a:latin typeface="Arial" panose="020B0604020202020204"/>
                  <a:ea typeface="+mn-ea"/>
                  <a:cs typeface="+mn-cs"/>
                </a:rPr>
                <a:t>de bénéficiaires d’un régime d’assurance maladie </a:t>
              </a:r>
              <a:r>
                <a:rPr lang="fr-FR" sz="1400" b="1">
                  <a:solidFill>
                    <a:srgbClr val="374C62"/>
                  </a:solidFill>
                  <a:latin typeface="Arial" panose="020B0604020202020204"/>
                  <a:cs typeface="+mn-cs"/>
                </a:rPr>
                <a:t>français </a:t>
              </a:r>
              <a:r>
                <a:rPr kumimoji="0" lang="fr-FR" sz="1400" b="1" i="0" u="none" strike="noStrike" kern="1200" cap="none" spc="0" normalizeH="0" baseline="0" noProof="0">
                  <a:ln>
                    <a:noFill/>
                  </a:ln>
                  <a:solidFill>
                    <a:srgbClr val="374C62"/>
                  </a:solidFill>
                  <a:effectLst/>
                  <a:uLnTx/>
                  <a:uFillTx/>
                  <a:latin typeface="Arial" panose="020B0604020202020204"/>
                  <a:ea typeface="+mn-ea"/>
                  <a:cs typeface="+mn-cs"/>
                </a:rPr>
                <a:t>ont été informés par e-mail (77%) et par courrier (23%),</a:t>
              </a:r>
              <a:r>
                <a:rPr kumimoji="0" lang="fr-FR" sz="1400" b="1" i="0" u="none" strike="noStrike" kern="1200" cap="none" spc="0" normalizeH="0" baseline="0" noProof="0">
                  <a:ln>
                    <a:noFill/>
                  </a:ln>
                  <a:solidFill>
                    <a:srgbClr val="0060AB"/>
                  </a:solidFill>
                  <a:effectLst/>
                  <a:uLnTx/>
                  <a:uFillTx/>
                  <a:latin typeface="Arial" panose="020B0604020202020204"/>
                  <a:ea typeface="Calibri"/>
                  <a:cs typeface="+mn-cs"/>
                </a:rPr>
                <a:t> </a:t>
              </a:r>
              <a:r>
                <a:rPr kumimoji="0" lang="fr-FR" sz="1400" b="0" i="0" u="none" strike="noStrike" kern="1200" cap="none" spc="0" normalizeH="0" baseline="0" noProof="0">
                  <a:ln>
                    <a:noFill/>
                  </a:ln>
                  <a:solidFill>
                    <a:srgbClr val="374C62"/>
                  </a:solidFill>
                  <a:effectLst/>
                  <a:uLnTx/>
                  <a:uFillTx/>
                  <a:latin typeface="Arial" panose="020B0604020202020204"/>
                  <a:ea typeface="Calibri"/>
                  <a:cs typeface="+mn-cs"/>
                </a:rPr>
                <a:t>de la création automatique prochaine de leur profil Mon espace santé.</a:t>
              </a:r>
              <a:r>
                <a:rPr lang="fr-FR" sz="1400">
                  <a:solidFill>
                    <a:srgbClr val="374C62"/>
                  </a:solidFill>
                  <a:latin typeface="Arial" panose="020B0604020202020204"/>
                  <a:ea typeface="Calibri"/>
                  <a:cs typeface="+mn-cs"/>
                </a:rPr>
                <a:t> </a:t>
              </a:r>
              <a:endParaRPr kumimoji="0" lang="fr-FR" sz="1400" b="0" i="0" u="none" strike="noStrike" kern="1200" cap="none" spc="0" normalizeH="0" baseline="0" noProof="0">
                <a:ln>
                  <a:noFill/>
                </a:ln>
                <a:solidFill>
                  <a:srgbClr val="374C62"/>
                </a:solidFill>
                <a:effectLst/>
                <a:uLnTx/>
                <a:uFillTx/>
                <a:latin typeface="Arial" panose="020B0604020202020204"/>
                <a:ea typeface="+mn-ea"/>
                <a:cs typeface="+mn-cs"/>
              </a:endParaRPr>
            </a:p>
          </p:txBody>
        </p:sp>
        <p:pic>
          <p:nvPicPr>
            <p:cNvPr id="6" name="Picture 6" descr="C:\Users\LEROY-30882\Desktop\identite_banquepictogrammes_0\FilaireBleuAM\Plan de travail 28.png">
              <a:extLst>
                <a:ext uri="{FF2B5EF4-FFF2-40B4-BE49-F238E27FC236}">
                  <a16:creationId xmlns:a16="http://schemas.microsoft.com/office/drawing/2014/main" id="{D23211F5-5EC7-4B40-977C-75591B24AF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5470" y="2264735"/>
              <a:ext cx="901700" cy="901700"/>
            </a:xfrm>
            <a:prstGeom prst="rect">
              <a:avLst/>
            </a:prstGeom>
            <a:solidFill>
              <a:srgbClr val="FFFFFF"/>
            </a:solidFill>
          </p:spPr>
        </p:pic>
      </p:grpSp>
      <p:grpSp>
        <p:nvGrpSpPr>
          <p:cNvPr id="7" name="Group 8">
            <a:extLst>
              <a:ext uri="{FF2B5EF4-FFF2-40B4-BE49-F238E27FC236}">
                <a16:creationId xmlns:a16="http://schemas.microsoft.com/office/drawing/2014/main" id="{1449D8C3-A952-4E92-82AF-3D4DE5FC3C66}"/>
              </a:ext>
            </a:extLst>
          </p:cNvPr>
          <p:cNvGrpSpPr/>
          <p:nvPr/>
        </p:nvGrpSpPr>
        <p:grpSpPr>
          <a:xfrm>
            <a:off x="621873" y="2669793"/>
            <a:ext cx="9748000" cy="901700"/>
            <a:chOff x="1115470" y="3490696"/>
            <a:chExt cx="9748000" cy="901700"/>
          </a:xfrm>
        </p:grpSpPr>
        <p:sp>
          <p:nvSpPr>
            <p:cNvPr id="8" name="ZoneTexte 14">
              <a:extLst>
                <a:ext uri="{FF2B5EF4-FFF2-40B4-BE49-F238E27FC236}">
                  <a16:creationId xmlns:a16="http://schemas.microsoft.com/office/drawing/2014/main" id="{405CB7B2-BC6F-441C-801E-D7A46407D0B0}"/>
                </a:ext>
              </a:extLst>
            </p:cNvPr>
            <p:cNvSpPr txBox="1"/>
            <p:nvPr/>
          </p:nvSpPr>
          <p:spPr>
            <a:xfrm>
              <a:off x="2302842" y="3618379"/>
              <a:ext cx="8560628" cy="707886"/>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Moins de 2% des personnes </a:t>
              </a: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se sont opposées à la création de leur espace et depuis la mi-juillet,</a:t>
              </a:r>
              <a:r>
                <a:rPr kumimoji="0" lang="fr-FR" sz="1400" b="0" i="0" u="none" strike="noStrike" kern="1200" cap="none" spc="0" normalizeH="0" baseline="0" noProof="0">
                  <a:ln>
                    <a:noFill/>
                  </a:ln>
                  <a:solidFill>
                    <a:srgbClr val="0060AB"/>
                  </a:solidFill>
                  <a:effectLst/>
                  <a:uLnTx/>
                  <a:uFillTx/>
                  <a:latin typeface="Arial" panose="020B0604020202020204"/>
                  <a:ea typeface="+mn-ea"/>
                  <a:cs typeface="+mn-cs"/>
                </a:rPr>
                <a:t> </a:t>
              </a: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65,9 millions d’assurés </a:t>
              </a: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en sont désormais dotés.</a:t>
              </a:r>
            </a:p>
          </p:txBody>
        </p:sp>
        <p:pic>
          <p:nvPicPr>
            <p:cNvPr id="9" name="Picture 7" descr="C:\Users\LEROY-30882\Desktop\identite_banquepictogrammes_0\FilaireBleuAM\Plan de travail 94.png">
              <a:extLst>
                <a:ext uri="{FF2B5EF4-FFF2-40B4-BE49-F238E27FC236}">
                  <a16:creationId xmlns:a16="http://schemas.microsoft.com/office/drawing/2014/main" id="{FBBA9901-96DC-465A-947B-741DF43F8FC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15470" y="3490696"/>
              <a:ext cx="901700" cy="9017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11">
            <a:extLst>
              <a:ext uri="{FF2B5EF4-FFF2-40B4-BE49-F238E27FC236}">
                <a16:creationId xmlns:a16="http://schemas.microsoft.com/office/drawing/2014/main" id="{97ED0591-3941-4FD9-94F8-E665F5455C00}"/>
              </a:ext>
            </a:extLst>
          </p:cNvPr>
          <p:cNvGrpSpPr/>
          <p:nvPr/>
        </p:nvGrpSpPr>
        <p:grpSpPr>
          <a:xfrm>
            <a:off x="621873" y="3818579"/>
            <a:ext cx="9666044" cy="901700"/>
            <a:chOff x="1115470" y="4696530"/>
            <a:chExt cx="9666044" cy="901700"/>
          </a:xfrm>
        </p:grpSpPr>
        <p:pic>
          <p:nvPicPr>
            <p:cNvPr id="11" name="Picture 8" descr="C:\Users\LEROY-30882\Desktop\identite_banquepictogrammes_0\FilaireBleuAM\Plan de travail 64.png">
              <a:extLst>
                <a:ext uri="{FF2B5EF4-FFF2-40B4-BE49-F238E27FC236}">
                  <a16:creationId xmlns:a16="http://schemas.microsoft.com/office/drawing/2014/main" id="{17EEB8FC-6350-4232-B2F9-9F084E52D5A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15470" y="4696530"/>
              <a:ext cx="901700" cy="901700"/>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5">
              <a:extLst>
                <a:ext uri="{FF2B5EF4-FFF2-40B4-BE49-F238E27FC236}">
                  <a16:creationId xmlns:a16="http://schemas.microsoft.com/office/drawing/2014/main" id="{8BB7DD09-F87D-4E5E-8CD8-2487DD54EC21}"/>
                </a:ext>
              </a:extLst>
            </p:cNvPr>
            <p:cNvSpPr txBox="1"/>
            <p:nvPr/>
          </p:nvSpPr>
          <p:spPr>
            <a:xfrm>
              <a:off x="2220886" y="4868800"/>
              <a:ext cx="8560628" cy="694036"/>
            </a:xfrm>
            <a:prstGeom prst="rect">
              <a:avLst/>
            </a:prstGeom>
            <a:noFill/>
          </p:spPr>
          <p:txBody>
            <a:bodyPr wrap="square" lIns="91440" tIns="45720" rIns="91440" bIns="45720" rtlCol="0" anchor="t">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eaLnBrk="1" fontAlgn="auto" hangingPunct="1">
                <a:lnSpc>
                  <a:spcPct val="115000"/>
                </a:lnSpc>
                <a:spcBef>
                  <a:spcPts val="0"/>
                </a:spcBef>
                <a:spcAft>
                  <a:spcPts val="0"/>
                </a:spcAft>
                <a:defRPr/>
              </a:pP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Cela signifie que </a:t>
              </a:r>
              <a:r>
                <a:rPr lang="fr-FR" sz="2000" b="1">
                  <a:solidFill>
                    <a:srgbClr val="E63984"/>
                  </a:solidFill>
                  <a:latin typeface="Arial" panose="020B0604020202020204"/>
                  <a:ea typeface="Calibri"/>
                  <a:cs typeface="+mn-cs"/>
                </a:rPr>
                <a:t>la très grande majorité des Français (+ de 90%) </a:t>
              </a: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peuvent d’ores et déjà recevoir un document de santé ou un message à la sortie d’un épisode de soin.</a:t>
              </a:r>
              <a:r>
                <a:rPr lang="fr-FR" sz="1400">
                  <a:solidFill>
                    <a:srgbClr val="374C62"/>
                  </a:solidFill>
                  <a:latin typeface="Arial" panose="020B0604020202020204"/>
                  <a:cs typeface="+mn-cs"/>
                </a:rPr>
                <a:t> </a:t>
              </a:r>
              <a:endParaRPr kumimoji="0" lang="fr-FR" sz="1400" b="0" i="0" u="none" strike="noStrike" kern="1200" cap="none" spc="0" normalizeH="0" baseline="0" noProof="0">
                <a:ln>
                  <a:noFill/>
                </a:ln>
                <a:solidFill>
                  <a:srgbClr val="374C62"/>
                </a:solidFill>
                <a:effectLst/>
                <a:uLnTx/>
                <a:uFillTx/>
                <a:latin typeface="Arial" panose="020B0604020202020204"/>
                <a:ea typeface="+mn-ea"/>
                <a:cs typeface="+mn-cs"/>
              </a:endParaRPr>
            </a:p>
          </p:txBody>
        </p:sp>
      </p:grpSp>
      <p:sp>
        <p:nvSpPr>
          <p:cNvPr id="13" name="ZoneTexte 3">
            <a:extLst>
              <a:ext uri="{FF2B5EF4-FFF2-40B4-BE49-F238E27FC236}">
                <a16:creationId xmlns:a16="http://schemas.microsoft.com/office/drawing/2014/main" id="{A1F2BF72-D3C0-4404-801E-870213828931}"/>
              </a:ext>
            </a:extLst>
          </p:cNvPr>
          <p:cNvSpPr txBox="1"/>
          <p:nvPr/>
        </p:nvSpPr>
        <p:spPr>
          <a:xfrm>
            <a:off x="700121" y="5359650"/>
            <a:ext cx="11087718" cy="769441"/>
          </a:xfrm>
          <a:prstGeom prst="rect">
            <a:avLst/>
          </a:prstGeom>
          <a:noFill/>
        </p:spPr>
        <p:txBody>
          <a:bodyPr wrap="square" lIns="91440" tIns="45720" rIns="91440" bIns="45720" rtlCol="0" anchor="t">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0C419A"/>
                </a:solidFill>
                <a:effectLst/>
                <a:uLnTx/>
                <a:uFillTx/>
                <a:latin typeface="Arial" panose="020B0604020202020204"/>
                <a:ea typeface="+mn-ea"/>
                <a:cs typeface="+mn-cs"/>
              </a:rPr>
              <a:t>1.</a:t>
            </a:r>
            <a:r>
              <a:rPr lang="fr-FR" sz="1100">
                <a:latin typeface="Arial" panose="020B0604020202020204"/>
                <a:cs typeface="+mn-cs"/>
              </a:rPr>
              <a:t> Les bénéficiaires du régime général et de la MSA de 3 départements (Haute-Garonne, Loire-Atlantique, Somme) ont été adressés en août et septembre 2021 pendant la phase pilote, puis l’ensemble des bénéficiaires d’un régime d’assurance maladie français entre fin janvier et début avril 2022, lors du déploiement national.</a:t>
            </a:r>
          </a:p>
          <a:p>
            <a:pPr eaLnBrk="1" fontAlgn="auto" hangingPunct="1">
              <a:spcBef>
                <a:spcPts val="0"/>
              </a:spcBef>
              <a:spcAft>
                <a:spcPts val="0"/>
              </a:spcAft>
              <a:defRPr/>
            </a:pPr>
            <a:r>
              <a:rPr kumimoji="0" lang="fr-FR" sz="1100" b="0" i="0" u="none" strike="noStrike" kern="1200" cap="none" spc="0" normalizeH="0" baseline="0" noProof="0">
                <a:ln>
                  <a:noFill/>
                </a:ln>
                <a:effectLst/>
                <a:uLnTx/>
                <a:uFillTx/>
                <a:latin typeface="Arial" panose="020B0604020202020204"/>
                <a:ea typeface="+mn-ea"/>
                <a:cs typeface="+mn-cs"/>
              </a:rPr>
              <a:t>2. Le nombre d’espaces tient compte des fermetures demandées post-création automatiques et des courriers et mails non distribués qui n’ont pas fait l’objet d’ouverture automatique.</a:t>
            </a:r>
            <a:r>
              <a:rPr lang="fr-FR" sz="1100">
                <a:latin typeface="Arial" panose="020B0604020202020204"/>
                <a:cs typeface="+mn-cs"/>
              </a:rPr>
              <a:t> </a:t>
            </a:r>
            <a:endParaRPr lang="fr-FR" sz="1100" b="0" i="0" u="none" strike="noStrike" kern="1200" cap="none" spc="0" normalizeH="0" baseline="0" noProof="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2382400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3944586" y="564667"/>
            <a:ext cx="7120578" cy="576209"/>
          </a:xfrm>
        </p:spPr>
        <p:txBody>
          <a:bodyPr>
            <a:noAutofit/>
          </a:bodyPr>
          <a:lstStyle/>
          <a:p>
            <a:r>
              <a:rPr lang="fr-FR" sz="1800"/>
              <a:t>Des premiers usages de Mon espace santé et ses fonctionnalités</a:t>
            </a:r>
          </a:p>
        </p:txBody>
      </p:sp>
      <p:sp>
        <p:nvSpPr>
          <p:cNvPr id="14" name="ZoneTexte 13">
            <a:extLst>
              <a:ext uri="{FF2B5EF4-FFF2-40B4-BE49-F238E27FC236}">
                <a16:creationId xmlns:a16="http://schemas.microsoft.com/office/drawing/2014/main" id="{5A4179A7-7083-4FB0-AC8A-7BF25C736E44}"/>
              </a:ext>
            </a:extLst>
          </p:cNvPr>
          <p:cNvSpPr txBox="1"/>
          <p:nvPr/>
        </p:nvSpPr>
        <p:spPr>
          <a:xfrm>
            <a:off x="1634625" y="1700635"/>
            <a:ext cx="10059375" cy="615553"/>
          </a:xfrm>
          <a:prstGeom prst="rect">
            <a:avLst/>
          </a:prstGeom>
          <a:noFill/>
        </p:spPr>
        <p:txBody>
          <a:bodyPr wrap="square" lIns="91440" tIns="45720" rIns="91440" bIns="45720" rtlCol="0" anchor="t">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8,3 millions d’usagers </a:t>
            </a:r>
            <a:r>
              <a:rPr kumimoji="0" lang="fr-FR" sz="1400" b="1" i="0" u="none" strike="noStrike" kern="1200" cap="none" spc="0" normalizeH="0" baseline="0" noProof="0">
                <a:ln>
                  <a:noFill/>
                </a:ln>
                <a:solidFill>
                  <a:srgbClr val="374C62"/>
                </a:solidFill>
                <a:effectLst/>
                <a:uLnTx/>
                <a:uFillTx/>
                <a:latin typeface="Arial" panose="020B0604020202020204"/>
                <a:ea typeface="Calibri"/>
                <a:cs typeface="+mn-cs"/>
              </a:rPr>
              <a:t>ont activé le service, soit plus de </a:t>
            </a: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12% des personnes</a:t>
            </a:r>
            <a:r>
              <a:rPr kumimoji="0" lang="fr-FR" sz="1400" b="1" i="0" u="none" strike="noStrike" kern="1200" cap="none" spc="0" normalizeH="0" baseline="0" noProof="0">
                <a:ln>
                  <a:noFill/>
                </a:ln>
                <a:solidFill>
                  <a:srgbClr val="0060AB"/>
                </a:solidFill>
                <a:effectLst/>
                <a:uLnTx/>
                <a:uFillTx/>
                <a:latin typeface="Arial" panose="020B0604020202020204"/>
                <a:ea typeface="Calibri"/>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374C62"/>
                </a:solidFill>
                <a:effectLst/>
                <a:uLnTx/>
                <a:uFillTx/>
                <a:latin typeface="Arial" panose="020B0604020202020204"/>
                <a:ea typeface="Calibri"/>
                <a:cs typeface="+mn-cs"/>
              </a:rPr>
              <a:t>Et chaque mois ils sont de plus en plus nombreux : </a:t>
            </a:r>
            <a:r>
              <a:rPr kumimoji="0" lang="fr-FR" sz="1400" b="1" i="0" u="none" strike="noStrike" kern="1200" cap="none" spc="0" normalizeH="0" baseline="0" noProof="0">
                <a:ln>
                  <a:noFill/>
                </a:ln>
                <a:solidFill>
                  <a:srgbClr val="374C62"/>
                </a:solidFill>
                <a:effectLst/>
                <a:uLnTx/>
                <a:uFillTx/>
                <a:latin typeface="Arial" panose="020B0604020202020204"/>
                <a:ea typeface="Calibri"/>
                <a:cs typeface="+mn-cs"/>
              </a:rPr>
              <a:t>+ 200 000 activations sur les trois </a:t>
            </a:r>
            <a:r>
              <a:rPr lang="fr-FR" sz="1400" b="1">
                <a:solidFill>
                  <a:srgbClr val="374C62"/>
                </a:solidFill>
                <a:latin typeface="Arial" panose="020B0604020202020204"/>
                <a:ea typeface="Calibri"/>
                <a:cs typeface="+mn-cs"/>
              </a:rPr>
              <a:t>derniers</a:t>
            </a:r>
            <a:r>
              <a:rPr kumimoji="0" lang="fr-FR" sz="1400" b="1" i="0" u="none" strike="noStrike" kern="1200" cap="none" spc="0" normalizeH="0" baseline="0" noProof="0">
                <a:ln>
                  <a:noFill/>
                </a:ln>
                <a:solidFill>
                  <a:srgbClr val="374C62"/>
                </a:solidFill>
                <a:effectLst/>
                <a:uLnTx/>
                <a:uFillTx/>
                <a:latin typeface="Arial" panose="020B0604020202020204"/>
                <a:ea typeface="Calibri"/>
                <a:cs typeface="+mn-cs"/>
              </a:rPr>
              <a:t> mois.</a:t>
            </a:r>
            <a:endParaRPr lang="fr-FR" sz="1400" b="1" i="0" u="none" strike="noStrike" kern="1200" cap="none" spc="0" normalizeH="0" baseline="0" noProof="0">
              <a:ln>
                <a:noFill/>
              </a:ln>
              <a:solidFill>
                <a:srgbClr val="374C62"/>
              </a:solidFill>
              <a:effectLst/>
              <a:uLnTx/>
              <a:uFillTx/>
              <a:latin typeface="Arial" panose="020B0604020202020204"/>
              <a:cs typeface="Arial" panose="020B0604020202020204"/>
            </a:endParaRPr>
          </a:p>
        </p:txBody>
      </p:sp>
      <p:sp>
        <p:nvSpPr>
          <p:cNvPr id="15" name="ZoneTexte 15">
            <a:extLst>
              <a:ext uri="{FF2B5EF4-FFF2-40B4-BE49-F238E27FC236}">
                <a16:creationId xmlns:a16="http://schemas.microsoft.com/office/drawing/2014/main" id="{0A2DAE55-A6AA-4B37-9267-7F7DD14785C2}"/>
              </a:ext>
            </a:extLst>
          </p:cNvPr>
          <p:cNvSpPr txBox="1"/>
          <p:nvPr/>
        </p:nvSpPr>
        <p:spPr>
          <a:xfrm>
            <a:off x="1634627" y="2992420"/>
            <a:ext cx="9969476" cy="830997"/>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374C62"/>
                </a:solidFill>
                <a:effectLst/>
                <a:uLnTx/>
                <a:uFillTx/>
                <a:latin typeface="Arial" panose="020B0604020202020204"/>
                <a:ea typeface="+mn-ea"/>
                <a:cs typeface="+mn-cs"/>
              </a:rPr>
              <a:t>Les usagers ont commencé à compléter leur profil médic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Plus de 40% d’entre eux ont ajouté au moins une mesure </a:t>
            </a: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poids, taille, tension…) dans Mon espace santé.</a:t>
            </a:r>
          </a:p>
        </p:txBody>
      </p:sp>
      <p:sp>
        <p:nvSpPr>
          <p:cNvPr id="16" name="ZoneTexte 17">
            <a:extLst>
              <a:ext uri="{FF2B5EF4-FFF2-40B4-BE49-F238E27FC236}">
                <a16:creationId xmlns:a16="http://schemas.microsoft.com/office/drawing/2014/main" id="{BFD8D154-2D61-4AA8-B658-690FCBB02640}"/>
              </a:ext>
            </a:extLst>
          </p:cNvPr>
          <p:cNvSpPr txBox="1"/>
          <p:nvPr/>
        </p:nvSpPr>
        <p:spPr>
          <a:xfrm>
            <a:off x="1634627" y="4477544"/>
            <a:ext cx="9969476" cy="615553"/>
          </a:xfrm>
          <a:prstGeom prst="rect">
            <a:avLst/>
          </a:prstGeom>
          <a:noFill/>
        </p:spPr>
        <p:txBody>
          <a:bodyPr wrap="square" rtlCol="0">
            <a:spAutoFit/>
          </a:bodyPr>
          <a:lstStyle>
            <a:defPPr>
              <a:defRPr lang="fr-FR"/>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374C62"/>
                </a:solidFill>
                <a:effectLst/>
                <a:uLnTx/>
                <a:uFillTx/>
                <a:latin typeface="Arial" panose="020B0604020202020204"/>
                <a:ea typeface="+mn-ea"/>
                <a:cs typeface="+mn-cs"/>
              </a:rPr>
              <a:t>Les usagers consultent leur espace régulière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E63984"/>
                </a:solidFill>
                <a:effectLst/>
                <a:uLnTx/>
                <a:uFillTx/>
                <a:latin typeface="Arial" panose="020B0604020202020204"/>
                <a:ea typeface="Calibri"/>
                <a:cs typeface="+mn-cs"/>
              </a:rPr>
              <a:t>10% des visiteurs </a:t>
            </a:r>
            <a:r>
              <a:rPr kumimoji="0" lang="fr-FR" sz="1400" b="0" i="0" u="none" strike="noStrike" kern="1200" cap="none" spc="0" normalizeH="0" baseline="0" noProof="0">
                <a:ln>
                  <a:noFill/>
                </a:ln>
                <a:solidFill>
                  <a:srgbClr val="374C62"/>
                </a:solidFill>
                <a:effectLst/>
                <a:uLnTx/>
                <a:uFillTx/>
                <a:latin typeface="Arial" panose="020B0604020202020204"/>
                <a:ea typeface="+mn-ea"/>
                <a:cs typeface="+mn-cs"/>
              </a:rPr>
              <a:t>reviennent d’un mois à l’autre.</a:t>
            </a:r>
          </a:p>
        </p:txBody>
      </p:sp>
      <p:pic>
        <p:nvPicPr>
          <p:cNvPr id="17" name="Picture 2" descr="C:\Users\LEROY-30882\Desktop\identite_banquepictogrammes_0\FilaireBleuAM\Plan de travail 78.png">
            <a:extLst>
              <a:ext uri="{FF2B5EF4-FFF2-40B4-BE49-F238E27FC236}">
                <a16:creationId xmlns:a16="http://schemas.microsoft.com/office/drawing/2014/main" id="{6201ED2E-A9A9-40A2-99FF-0F1BA48BC6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8214" y="2948004"/>
            <a:ext cx="787547" cy="78754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Users\LEROY-30882\Desktop\identite_banquepictogrammes_0\FilaireBleuAM\Plan de travail 45.png">
            <a:extLst>
              <a:ext uri="{FF2B5EF4-FFF2-40B4-BE49-F238E27FC236}">
                <a16:creationId xmlns:a16="http://schemas.microsoft.com/office/drawing/2014/main" id="{943D91B7-B168-4E74-82B2-B8DDE183EDF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7554" y="4426497"/>
            <a:ext cx="748423" cy="74842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C:\Users\LEROY-30882\Desktop\identite_banquepictogrammes_0\FilaireBleuAM\Plan de travail 12.png">
            <a:extLst>
              <a:ext uri="{FF2B5EF4-FFF2-40B4-BE49-F238E27FC236}">
                <a16:creationId xmlns:a16="http://schemas.microsoft.com/office/drawing/2014/main" id="{6F059806-2138-45E5-884C-8019BDF2DA7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9452" y="1700635"/>
            <a:ext cx="818707" cy="8187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9274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6"/>
</p:tagLst>
</file>

<file path=ppt/tags/tag11.xml><?xml version="1.0" encoding="utf-8"?>
<p:tagLst xmlns:a="http://schemas.openxmlformats.org/drawingml/2006/main" xmlns:r="http://schemas.openxmlformats.org/officeDocument/2006/relationships" xmlns:p="http://schemas.openxmlformats.org/presentationml/2006/main">
  <p:tag name="NUM" val="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NUM" val="9"/>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E529F6F_720C_45B2_AD89_84708668CD2A&quot;,&quot;SourceFullName&quot;:&quot;https://people.ey.com/personal/helene_couret_fr_ey_com/Documents/Documents/1. Missions/DIONIS DMP/02_Deploiement/6_Divers/12_JNCIS/22 04 30_TB_ELT_NAT_49  _ Alimentations DMP mensuelles (hors HR) par catégorie d'activité - nomb&quot;,&quot;LastUpdate&quot;:&quot;2023-03-21 11:35 AM&quot;,&quot;UpdatedBy&quot;:&quot;HCouret&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3"/>
</p:tagLst>
</file>

<file path=ppt/tags/tag9.xml><?xml version="1.0" encoding="utf-8"?>
<p:tagLst xmlns:a="http://schemas.openxmlformats.org/drawingml/2006/main" xmlns:r="http://schemas.openxmlformats.org/officeDocument/2006/relationships" xmlns:p="http://schemas.openxmlformats.org/presentationml/2006/main">
  <p:tag name="NUM" val="5"/>
</p:tagLst>
</file>

<file path=ppt/theme/_rels/themeOverride2.xml.rels><?xml version="1.0" encoding="UTF-8" standalone="yes"?>
<Relationships xmlns="http://schemas.openxmlformats.org/package/2006/relationships"><Relationship Id="rId1" Type="http://schemas.openxmlformats.org/officeDocument/2006/relationships/image" Target="../media/image61.jpeg"/></Relationships>
</file>

<file path=ppt/theme/theme1.xml><?xml version="1.0" encoding="utf-8"?>
<a:theme xmlns:a="http://schemas.openxmlformats.org/drawingml/2006/main" name="2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S_MOD_STRANDARD_COMM EXTERNE POWERPOINT _V1.0.potx" id="{DF040941-0DE4-47FA-97E3-0398349CBB5C}" vid="{6C8C4DF5-3178-429A-A8BE-8D1819160862}"/>
    </a:ext>
  </a:extLst>
</a:theme>
</file>

<file path=ppt/theme/theme2.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Arial"/>
        <a:ea typeface="Arial"/>
        <a:cs typeface="Arial"/>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21_BasicWhite">
  <a:themeElements>
    <a:clrScheme name="21_BasicWhite">
      <a:dk1>
        <a:srgbClr val="5E5E5E"/>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Arial"/>
        <a:ea typeface="Arial"/>
        <a:cs typeface="Arial"/>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NAM">
    <a:dk1>
      <a:srgbClr val="0C419A"/>
    </a:dk1>
    <a:lt1>
      <a:sysClr val="window" lastClr="FFFFFF"/>
    </a:lt1>
    <a:dk2>
      <a:srgbClr val="007FAD"/>
    </a:dk2>
    <a:lt2>
      <a:srgbClr val="545859"/>
    </a:lt2>
    <a:accent1>
      <a:srgbClr val="298478"/>
    </a:accent1>
    <a:accent2>
      <a:srgbClr val="C74E5A"/>
    </a:accent2>
    <a:accent3>
      <a:srgbClr val="007FAD"/>
    </a:accent3>
    <a:accent4>
      <a:srgbClr val="A05EB5"/>
    </a:accent4>
    <a:accent5>
      <a:srgbClr val="5E74B8"/>
    </a:accent5>
    <a:accent6>
      <a:srgbClr val="E11A81"/>
    </a:accent6>
    <a:hlink>
      <a:srgbClr val="0C419A"/>
    </a:hlink>
    <a:folHlink>
      <a:srgbClr val="5458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Personnalisé 2">
    <a:dk1>
      <a:srgbClr val="464646"/>
    </a:dk1>
    <a:lt1>
      <a:sysClr val="window" lastClr="FFFFFF"/>
    </a:lt1>
    <a:dk2>
      <a:srgbClr val="2AB3A6"/>
    </a:dk2>
    <a:lt2>
      <a:srgbClr val="E7E6E6"/>
    </a:lt2>
    <a:accent1>
      <a:srgbClr val="00A4C6"/>
    </a:accent1>
    <a:accent2>
      <a:srgbClr val="2AB3A6"/>
    </a:accent2>
    <a:accent3>
      <a:srgbClr val="00A4C6"/>
    </a:accent3>
    <a:accent4>
      <a:srgbClr val="0062AE"/>
    </a:accent4>
    <a:accent5>
      <a:srgbClr val="00A4C6"/>
    </a:accent5>
    <a:accent6>
      <a:srgbClr val="2AB3A6"/>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98000"/>
              <a:hueMod val="124000"/>
              <a:satMod val="148000"/>
              <a:lumMod val="124000"/>
            </a:schemeClr>
          </a:gs>
          <a:gs pos="100000">
            <a:schemeClr val="phClr">
              <a:shade val="76000"/>
              <a:hueMod val="89000"/>
              <a:satMod val="164000"/>
              <a:lumMod val="56000"/>
            </a:schemeClr>
          </a:gs>
        </a:gsLst>
        <a:path path="circle">
          <a:fillToRect l="45000" t="65000" r="125000" b="100000"/>
        </a:path>
      </a:gradFill>
      <a:blipFill rotWithShape="1">
        <a:blip xmlns:r="http://schemas.openxmlformats.org/officeDocument/2006/relationships" r:embed="rId1">
          <a:duotone>
            <a:schemeClr val="phClr">
              <a:shade val="69000"/>
              <a:hueMod val="91000"/>
              <a:satMod val="164000"/>
              <a:lumMod val="74000"/>
            </a:schemeClr>
            <a:schemeClr val="phClr">
              <a:hueMod val="124000"/>
              <a:satMod val="140000"/>
              <a:lumMod val="142000"/>
            </a:schemeClr>
          </a:duotone>
        </a:blip>
        <a:stretch/>
      </a:blip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A93D6813B79224FBEAAD6B69854B928" ma:contentTypeVersion="15" ma:contentTypeDescription="Crée un document." ma:contentTypeScope="" ma:versionID="e89f50cae5ca7d4a7508a127a3a25aca">
  <xsd:schema xmlns:xsd="http://www.w3.org/2001/XMLSchema" xmlns:xs="http://www.w3.org/2001/XMLSchema" xmlns:p="http://schemas.microsoft.com/office/2006/metadata/properties" xmlns:ns1="http://schemas.microsoft.com/sharepoint/v3" xmlns:ns2="bb92982b-4e9a-4b37-8633-1f28f79bda33" xmlns:ns3="7c8ddf5e-d20f-48dc-aefc-2070f49ceb6a" targetNamespace="http://schemas.microsoft.com/office/2006/metadata/properties" ma:root="true" ma:fieldsID="4aa1a9e556bbbe2edba460040da06375" ns1:_="" ns2:_="" ns3:_="">
    <xsd:import namespace="http://schemas.microsoft.com/sharepoint/v3"/>
    <xsd:import namespace="bb92982b-4e9a-4b37-8633-1f28f79bda33"/>
    <xsd:import namespace="7c8ddf5e-d20f-48dc-aefc-2070f49ceb6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lcf76f155ced4ddcb4097134ff3c332f" minOccurs="0"/>
                <xsd:element ref="ns2:MediaServiceOCR" minOccurs="0"/>
                <xsd:element ref="ns2:MediaServiceGenerationTime" minOccurs="0"/>
                <xsd:element ref="ns2:MediaServiceEventHashCode" minOccurs="0"/>
                <xsd:element ref="ns3:SharedWithUsers" minOccurs="0"/>
                <xsd:element ref="ns3: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Propriétés de la stratégie de conformité unifiée" ma:hidden="true" ma:internalName="_ip_UnifiedCompliancePolicyProperties">
      <xsd:simpleType>
        <xsd:restriction base="dms:Note"/>
      </xsd:simpleType>
    </xsd:element>
    <xsd:element name="_ip_UnifiedCompliancePolicyUIAction" ma:index="22"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b92982b-4e9a-4b37-8633-1f28f79bda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Balises d’images" ma:readOnly="false" ma:fieldId="{5cf76f15-5ced-4ddc-b409-7134ff3c332f}" ma:taxonomyMulti="true" ma:sspId="c4480557-28ee-4200-b705-f4b4ceb9c11a"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c8ddf5e-d20f-48dc-aefc-2070f49ceb6a"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b92982b-4e9a-4b37-8633-1f28f79bda33">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3FC4CDA0-1203-41E6-8D60-DEB7A4F80D58}">
  <ds:schemaRefs>
    <ds:schemaRef ds:uri="http://schemas.microsoft.com/sharepoint/v3/contenttype/forms"/>
  </ds:schemaRefs>
</ds:datastoreItem>
</file>

<file path=customXml/itemProps2.xml><?xml version="1.0" encoding="utf-8"?>
<ds:datastoreItem xmlns:ds="http://schemas.openxmlformats.org/officeDocument/2006/customXml" ds:itemID="{6880AB96-E78A-4EFE-BD0C-814A1678DE3D}">
  <ds:schemaRefs>
    <ds:schemaRef ds:uri="7c8ddf5e-d20f-48dc-aefc-2070f49ceb6a"/>
    <ds:schemaRef ds:uri="bb92982b-4e9a-4b37-8633-1f28f79bda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F4EA53D-641F-4C7B-970C-18148722E1D1}">
  <ds:schemaRefs>
    <ds:schemaRef ds:uri="7c8ddf5e-d20f-48dc-aefc-2070f49ceb6a"/>
    <ds:schemaRef ds:uri="bb92982b-4e9a-4b37-8633-1f28f79bda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1</Slides>
  <Notes>16</Notes>
  <HiddenSlides>0</HiddenSlide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2_Thème Office</vt:lpstr>
      <vt:lpstr>21_BasicWhite</vt:lpstr>
      <vt:lpstr>21_BasicWhite</vt:lpstr>
      <vt:lpstr>Mon espace santé Professionnels de santé LIBERAUX</vt:lpstr>
      <vt:lpstr>Sommaire</vt:lpstr>
      <vt:lpstr>L’histoire de Mon espace santé</vt:lpstr>
      <vt:lpstr>PowerPoint Presentation</vt:lpstr>
      <vt:lpstr>PowerPoint Presentation</vt:lpstr>
      <vt:lpstr>PowerPoint Presentation</vt:lpstr>
      <vt:lpstr>PowerPoint Presentation</vt:lpstr>
      <vt:lpstr>PowerPoint Presentation</vt:lpstr>
      <vt:lpstr>PowerPoint Presentation</vt:lpstr>
      <vt:lpstr>Comment Mon espace santé s’intègre dans vos pratiques et outils actuels ?</vt:lpstr>
      <vt:lpstr>PowerPoint Presentation</vt:lpstr>
      <vt:lpstr>PowerPoint Presentation</vt:lpstr>
      <vt:lpstr>PowerPoint Presentation</vt:lpstr>
      <vt:lpstr>PowerPoint Presentation</vt:lpstr>
      <vt:lpstr>PowerPoint Presentation</vt:lpstr>
      <vt:lpstr>PowerPoint Presentation</vt:lpstr>
      <vt:lpstr>Démonstration WEB PS DMP</vt:lpstr>
      <vt:lpstr>ZOOM SUR Les documents de santé</vt:lpstr>
      <vt:lpstr>Ressources </vt:lpstr>
      <vt:lpstr>Page Mon espace santé – e sante </vt:lpstr>
      <vt:lpstr>Questions / Répons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arah CASTELNAU</dc:creator>
  <cp:revision>1</cp:revision>
  <cp:lastPrinted>2021-08-27T14:04:11Z</cp:lastPrinted>
  <dcterms:created xsi:type="dcterms:W3CDTF">2021-10-13T07:30:08Z</dcterms:created>
  <dcterms:modified xsi:type="dcterms:W3CDTF">2023-03-30T16:5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93D6813B79224FBEAAD6B69854B928</vt:lpwstr>
  </property>
  <property fmtid="{D5CDD505-2E9C-101B-9397-08002B2CF9AE}" pid="3" name="MediaServiceImageTags">
    <vt:lpwstr/>
  </property>
  <property fmtid="{D5CDD505-2E9C-101B-9397-08002B2CF9AE}" pid="4" name="MSIP_Label_7bd1f144-26ac-4410-8fdb-05c7de218e82_Enabled">
    <vt:lpwstr>true</vt:lpwstr>
  </property>
  <property fmtid="{D5CDD505-2E9C-101B-9397-08002B2CF9AE}" pid="5" name="MSIP_Label_7bd1f144-26ac-4410-8fdb-05c7de218e82_SetDate">
    <vt:lpwstr>2022-08-11T14:34:12Z</vt:lpwstr>
  </property>
  <property fmtid="{D5CDD505-2E9C-101B-9397-08002B2CF9AE}" pid="6" name="MSIP_Label_7bd1f144-26ac-4410-8fdb-05c7de218e82_Method">
    <vt:lpwstr>Standard</vt:lpwstr>
  </property>
  <property fmtid="{D5CDD505-2E9C-101B-9397-08002B2CF9AE}" pid="7" name="MSIP_Label_7bd1f144-26ac-4410-8fdb-05c7de218e82_Name">
    <vt:lpwstr>FR Usage restreint</vt:lpwstr>
  </property>
  <property fmtid="{D5CDD505-2E9C-101B-9397-08002B2CF9AE}" pid="8" name="MSIP_Label_7bd1f144-26ac-4410-8fdb-05c7de218e82_SiteId">
    <vt:lpwstr>8b87af7d-8647-4dc7-8df4-5f69a2011bb5</vt:lpwstr>
  </property>
  <property fmtid="{D5CDD505-2E9C-101B-9397-08002B2CF9AE}" pid="9" name="MSIP_Label_7bd1f144-26ac-4410-8fdb-05c7de218e82_ActionId">
    <vt:lpwstr>e2baabf6-37fd-40ef-97e8-999f8d4981e8</vt:lpwstr>
  </property>
  <property fmtid="{D5CDD505-2E9C-101B-9397-08002B2CF9AE}" pid="10" name="MSIP_Label_7bd1f144-26ac-4410-8fdb-05c7de218e82_ContentBits">
    <vt:lpwstr>3</vt:lpwstr>
  </property>
</Properties>
</file>